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147376930" r:id="rId3"/>
    <p:sldId id="2147376931" r:id="rId4"/>
    <p:sldId id="2147376932" r:id="rId5"/>
    <p:sldId id="2147376933" r:id="rId6"/>
    <p:sldId id="2147376934" r:id="rId7"/>
    <p:sldId id="2147376935" r:id="rId8"/>
    <p:sldId id="2147376936" r:id="rId9"/>
    <p:sldId id="2147376937" r:id="rId10"/>
    <p:sldId id="2147376938" r:id="rId11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4" d="100"/>
          <a:sy n="74" d="100"/>
        </p:scale>
        <p:origin x="3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/>
        </p:nvSpPr>
        <p:spPr>
          <a:xfrm>
            <a:off x="0" y="1037540"/>
            <a:ext cx="2835275" cy="58204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85AC739-FDF7-1A41-B918-12DA4BF68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2835275" cy="5820459"/>
          </a:xfrm>
          <a:noFill/>
        </p:spPr>
        <p:txBody>
          <a:bodyPr lIns="0" tIns="72000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B58CFE9-584C-81B4-429E-7670B33C28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16751" y="6395389"/>
            <a:ext cx="1674534" cy="2304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2450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/>
        </p:nvSpPr>
        <p:spPr>
          <a:xfrm>
            <a:off x="0" y="1044574"/>
            <a:ext cx="12192000" cy="58134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13350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010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85AC739-FDF7-1A41-B918-12DA4BF68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2835276" cy="5813425"/>
          </a:xfrm>
          <a:noFill/>
        </p:spPr>
        <p:txBody>
          <a:bodyPr lIns="0" tIns="72000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/>
        </p:nvSpPr>
        <p:spPr>
          <a:xfrm>
            <a:off x="1" y="1044574"/>
            <a:ext cx="2835276" cy="58134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3317D-E2B7-DF40-83A9-695417DE1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1DFA4-58F4-BA41-8327-AFEFA003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1059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164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merierte Liste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342000" indent="-342000">
              <a:buClr>
                <a:schemeClr val="accent4"/>
              </a:buClr>
              <a:buSzPct val="100000"/>
              <a:buFont typeface="+mj-lt"/>
              <a:buAutoNum type="arabicPeriod"/>
              <a:defRPr lang="de-DE" sz="1700" noProof="0" dirty="0">
                <a:solidFill>
                  <a:schemeClr val="bg1"/>
                </a:solidFill>
              </a:defRPr>
            </a:lvl1pPr>
            <a:lvl2pPr marL="684000" indent="-342000">
              <a:buClr>
                <a:schemeClr val="accent4"/>
              </a:buClr>
              <a:buSzPct val="100000"/>
              <a:buFont typeface="+mj-lt"/>
              <a:buAutoNum type="alphaUcPeriod"/>
              <a:defRPr lang="de-DE" sz="1700" noProof="0" dirty="0">
                <a:solidFill>
                  <a:schemeClr val="bg1"/>
                </a:solidFill>
              </a:defRPr>
            </a:lvl2pPr>
            <a:lvl3pPr marL="1026000" indent="-342000">
              <a:buClr>
                <a:schemeClr val="accent4"/>
              </a:buClr>
              <a:buSzPct val="100000"/>
              <a:buFont typeface="+mj-lt"/>
              <a:buAutoNum type="romanUcPeriod"/>
              <a:defRPr lang="de-DE" sz="1700" noProof="0" dirty="0">
                <a:solidFill>
                  <a:schemeClr val="bg1"/>
                </a:solidFill>
              </a:defRPr>
            </a:lvl3pPr>
            <a:lvl4pPr marL="1368000" indent="-342000">
              <a:buClr>
                <a:schemeClr val="accent4"/>
              </a:buClr>
              <a:buSzPct val="100000"/>
              <a:buFont typeface="+mj-lt"/>
              <a:buAutoNum type="arabicParenR"/>
              <a:defRPr lang="de-DE" sz="1700" noProof="0" dirty="0">
                <a:solidFill>
                  <a:schemeClr val="bg1"/>
                </a:solidFill>
              </a:defRPr>
            </a:lvl4pPr>
            <a:lvl5pPr marL="1710000" indent="-342000">
              <a:buClr>
                <a:schemeClr val="accent4"/>
              </a:buClr>
              <a:buSzPct val="100000"/>
              <a:buFont typeface="+mj-lt"/>
              <a:buAutoNum type="alphaLcParenR"/>
              <a:defRPr lang="de-DE" sz="1700" noProof="0" dirty="0">
                <a:solidFill>
                  <a:schemeClr val="bg1"/>
                </a:solidFill>
              </a:defRPr>
            </a:lvl5pPr>
            <a:lvl6pPr marL="2052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700">
                <a:solidFill>
                  <a:schemeClr val="bg1"/>
                </a:solidFill>
              </a:defRPr>
            </a:lvl6pPr>
            <a:lvl7pPr marL="2394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700">
                <a:solidFill>
                  <a:schemeClr val="bg1"/>
                </a:solidFill>
              </a:defRPr>
            </a:lvl7pPr>
            <a:lvl8pPr marL="22329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+mj-lt"/>
              <a:buAutoNum type="arabicPeriod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4968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53305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¼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044574"/>
            <a:ext cx="2838450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8681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rginalienspalte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EF9AF8-191A-9D4D-B02E-FA3EFED041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013" y="2551113"/>
            <a:ext cx="2608262" cy="3611562"/>
          </a:xfrm>
        </p:spPr>
        <p:txBody>
          <a:bodyPr lIns="0" rIns="0">
            <a:normAutofit/>
          </a:bodyPr>
          <a:lstStyle>
            <a:lvl1pPr marL="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1pPr>
            <a:lvl2pPr marL="2730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2pPr>
            <a:lvl3pPr marL="5397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3pPr>
            <a:lvl4pPr marL="8064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4pPr>
            <a:lvl5pPr marL="10731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73B86A-4946-6045-990E-21D200BAE24C}"/>
              </a:ext>
            </a:extLst>
          </p:cNvPr>
          <p:cNvCxnSpPr>
            <a:cxnSpLocks/>
          </p:cNvCxnSpPr>
          <p:nvPr/>
        </p:nvCxnSpPr>
        <p:spPr>
          <a:xfrm>
            <a:off x="3071466" y="1044575"/>
            <a:ext cx="0" cy="581342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37869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½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6000" y="1051904"/>
            <a:ext cx="5803200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000" y="2550695"/>
            <a:ext cx="5803200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580320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24247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-spaltiger 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AF34A-5F84-B455-E2F7-0B0FC4379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44575"/>
            <a:ext cx="11731624" cy="119697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FA432-3E87-7C79-D582-024CA1F73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2543175"/>
            <a:ext cx="5572125" cy="70944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0DF704-9819-4516-92C5-F1ADA6A5D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27013" y="3433369"/>
            <a:ext cx="5572125" cy="2734068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08E45A-B3EA-F79D-6B28-910BB85D36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6325" y="2543174"/>
            <a:ext cx="5802312" cy="71481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CE1D6C-CDC9-F53D-7EC1-45343DE6C8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6324" y="3429000"/>
            <a:ext cx="5802313" cy="2734068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B08B18-BC0C-9634-ACFA-F5E82849B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9C3B74-63CC-51E2-D84D-0A0032EE6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317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27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1pPr>
            <a:lvl2pPr marL="54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2pPr>
            <a:lvl3pPr marL="81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3pPr>
            <a:lvl4pPr marL="108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4pPr>
            <a:lvl5pPr marL="135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5pPr>
            <a:lvl6pPr marL="162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6pPr>
            <a:lvl7pPr marL="189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7pPr>
            <a:lvl8pPr marL="216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67530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¾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0185" y="1051904"/>
            <a:ext cx="2838451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0185" y="2550695"/>
            <a:ext cx="2838451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C9357749-E19B-41EE-ADF5-02A7D4E9004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44574"/>
            <a:ext cx="876300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712352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/>
        </p:nvSpPr>
        <p:spPr>
          <a:xfrm>
            <a:off x="0" y="1044574"/>
            <a:ext cx="12192000" cy="58134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20873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12192000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5568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merierte Liste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342000" indent="-342000">
              <a:buSzPct val="100000"/>
              <a:buFont typeface="+mj-lt"/>
              <a:buAutoNum type="arabicPeriod"/>
              <a:defRPr lang="de-DE" sz="1700" noProof="0" dirty="0">
                <a:solidFill>
                  <a:schemeClr val="bg1"/>
                </a:solidFill>
              </a:defRPr>
            </a:lvl1pPr>
            <a:lvl2pPr marL="684000" indent="-342000">
              <a:buSzPct val="100000"/>
              <a:buFont typeface="+mj-lt"/>
              <a:buAutoNum type="alphaUcPeriod"/>
              <a:defRPr lang="de-DE" sz="1700" noProof="0" dirty="0">
                <a:solidFill>
                  <a:schemeClr val="bg1"/>
                </a:solidFill>
              </a:defRPr>
            </a:lvl2pPr>
            <a:lvl3pPr marL="1026000" indent="-342000">
              <a:buSzPct val="100000"/>
              <a:buFont typeface="+mj-lt"/>
              <a:buAutoNum type="romanUcPeriod"/>
              <a:defRPr lang="de-DE" sz="1700" noProof="0" dirty="0">
                <a:solidFill>
                  <a:schemeClr val="bg1"/>
                </a:solidFill>
              </a:defRPr>
            </a:lvl3pPr>
            <a:lvl4pPr marL="1368000" indent="-342000">
              <a:buSzPct val="100000"/>
              <a:buFont typeface="+mj-lt"/>
              <a:buAutoNum type="arabicParenR"/>
              <a:defRPr lang="de-DE" sz="1700" noProof="0" dirty="0">
                <a:solidFill>
                  <a:schemeClr val="bg1"/>
                </a:solidFill>
              </a:defRPr>
            </a:lvl4pPr>
            <a:lvl5pPr marL="1710000" indent="-342000">
              <a:buSzPct val="100000"/>
              <a:buFont typeface="+mj-lt"/>
              <a:buAutoNum type="alphaLcParenR"/>
              <a:defRPr lang="de-DE" sz="1700" noProof="0" dirty="0">
                <a:solidFill>
                  <a:schemeClr val="bg1"/>
                </a:solidFill>
              </a:defRPr>
            </a:lvl5pPr>
            <a:lvl6pPr marL="2052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SzPct val="100000"/>
              <a:buFont typeface="+mj-lt"/>
              <a:buAutoNum type="romanLcPeriod"/>
              <a:defRPr sz="1700">
                <a:solidFill>
                  <a:schemeClr val="bg1"/>
                </a:solidFill>
              </a:defRPr>
            </a:lvl6pPr>
            <a:lvl7pPr marL="2394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SzPct val="100000"/>
              <a:buFont typeface="+mj-lt"/>
              <a:buAutoNum type="alphaLcPeriod"/>
              <a:defRPr sz="1700">
                <a:solidFill>
                  <a:schemeClr val="bg1"/>
                </a:solidFill>
              </a:defRPr>
            </a:lvl7pPr>
            <a:lvl8pPr marL="22329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+mj-lt"/>
              <a:buAutoNum type="arabicPeriod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8990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206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¼ Bild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3283"/>
            <a:ext cx="283845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43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rginalienspalte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EF9AF8-191A-9D4D-B02E-FA3EFED041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013" y="2551113"/>
            <a:ext cx="2608262" cy="3611562"/>
          </a:xfrm>
        </p:spPr>
        <p:txBody>
          <a:bodyPr lIns="0" rIns="0">
            <a:normAutofit/>
          </a:bodyPr>
          <a:lstStyle>
            <a:lvl1pPr marL="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1pPr>
            <a:lvl2pPr marL="2730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2pPr>
            <a:lvl3pPr marL="5397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3pPr>
            <a:lvl4pPr marL="8064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4pPr>
            <a:lvl5pPr marL="10731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73B86A-4946-6045-990E-21D200BAE24C}"/>
              </a:ext>
            </a:extLst>
          </p:cNvPr>
          <p:cNvCxnSpPr>
            <a:cxnSpLocks/>
          </p:cNvCxnSpPr>
          <p:nvPr/>
        </p:nvCxnSpPr>
        <p:spPr>
          <a:xfrm>
            <a:off x="3071466" y="1044575"/>
            <a:ext cx="0" cy="581342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651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½ Bild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6325" y="1051904"/>
            <a:ext cx="5803200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325" y="2550695"/>
            <a:ext cx="5802312" cy="361251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1904"/>
            <a:ext cx="5802313" cy="5806096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237435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-spaltiger 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AF34A-5F84-B455-E2F7-0B0FC4379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44575"/>
            <a:ext cx="11731624" cy="11969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FA432-3E87-7C79-D582-024CA1F73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2543175"/>
            <a:ext cx="5572125" cy="709445"/>
          </a:xfrm>
        </p:spPr>
        <p:txBody>
          <a:bodyPr anchor="b"/>
          <a:lstStyle>
            <a:lvl1pPr marL="0" indent="0">
              <a:buNone/>
              <a:defRPr lang="en-GB" sz="2400" b="1" dirty="0" smtClean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0DF704-9819-4516-92C5-F1ADA6A5D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27013" y="3433369"/>
            <a:ext cx="5572125" cy="273406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08E45A-B3EA-F79D-6B28-910BB85D36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6325" y="2543174"/>
            <a:ext cx="5802312" cy="714817"/>
          </a:xfrm>
        </p:spPr>
        <p:txBody>
          <a:bodyPr anchor="b"/>
          <a:lstStyle>
            <a:lvl1pPr marL="0" indent="0">
              <a:buNone/>
              <a:defRPr lang="en-GB" sz="2400" b="1" smtClean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CE1D6C-CDC9-F53D-7EC1-45343DE6C8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6324" y="3429000"/>
            <a:ext cx="5802313" cy="273406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B08B18-BC0C-9634-ACFA-F5E82849B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865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6B94BC-C585-E82A-C394-BFE00616BA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04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B94BC-C585-E82A-C394-BFE00616B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BA380146-A78D-B431-E1BC-3A09A723BC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298984" cy="6858000"/>
          </a:xfrm>
          <a:prstGeom prst="rect">
            <a:avLst/>
          </a:prstGeom>
        </p:spPr>
      </p:pic>
      <p:sp>
        <p:nvSpPr>
          <p:cNvPr id="4" name="Flussdiagramm: Manuelle Eingabe 3">
            <a:extLst>
              <a:ext uri="{FF2B5EF4-FFF2-40B4-BE49-F238E27FC236}">
                <a16:creationId xmlns:a16="http://schemas.microsoft.com/office/drawing/2014/main" id="{2FEFED69-487D-5E44-A578-D7873B5A0F21}"/>
              </a:ext>
            </a:extLst>
          </p:cNvPr>
          <p:cNvSpPr/>
          <p:nvPr/>
        </p:nvSpPr>
        <p:spPr>
          <a:xfrm rot="16200000" flipH="1">
            <a:off x="5551602" y="-348111"/>
            <a:ext cx="6858001" cy="7554223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80 h 11780"/>
              <a:gd name="connsiteX1" fmla="*/ 9978 w 10000"/>
              <a:gd name="connsiteY1" fmla="*/ 0 h 11780"/>
              <a:gd name="connsiteX2" fmla="*/ 10000 w 10000"/>
              <a:gd name="connsiteY2" fmla="*/ 11780 h 11780"/>
              <a:gd name="connsiteX3" fmla="*/ 0 w 10000"/>
              <a:gd name="connsiteY3" fmla="*/ 11780 h 11780"/>
              <a:gd name="connsiteX4" fmla="*/ 0 w 10000"/>
              <a:gd name="connsiteY4" fmla="*/ 3780 h 11780"/>
              <a:gd name="connsiteX0" fmla="*/ 0 w 10000"/>
              <a:gd name="connsiteY0" fmla="*/ 1937 h 11780"/>
              <a:gd name="connsiteX1" fmla="*/ 9978 w 10000"/>
              <a:gd name="connsiteY1" fmla="*/ 0 h 11780"/>
              <a:gd name="connsiteX2" fmla="*/ 10000 w 10000"/>
              <a:gd name="connsiteY2" fmla="*/ 11780 h 11780"/>
              <a:gd name="connsiteX3" fmla="*/ 0 w 10000"/>
              <a:gd name="connsiteY3" fmla="*/ 11780 h 11780"/>
              <a:gd name="connsiteX4" fmla="*/ 0 w 10000"/>
              <a:gd name="connsiteY4" fmla="*/ 1937 h 11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780">
                <a:moveTo>
                  <a:pt x="0" y="1937"/>
                </a:moveTo>
                <a:lnTo>
                  <a:pt x="9978" y="0"/>
                </a:lnTo>
                <a:cubicBezTo>
                  <a:pt x="9985" y="3927"/>
                  <a:pt x="9993" y="7853"/>
                  <a:pt x="10000" y="11780"/>
                </a:cubicBezTo>
                <a:lnTo>
                  <a:pt x="0" y="11780"/>
                </a:lnTo>
                <a:lnTo>
                  <a:pt x="0" y="1937"/>
                </a:lnTo>
                <a:close/>
              </a:path>
            </a:pathLst>
          </a:cu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noFill/>
              </a:ln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C30BA5E-19CA-AD7D-5FA6-E13A32C462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05636" y="2278338"/>
            <a:ext cx="5014819" cy="1629419"/>
          </a:xfrm>
        </p:spPr>
        <p:txBody>
          <a:bodyPr vert="horz"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Click to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162C996-FF29-93E5-E2D5-CB6A96008B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05636" y="4079638"/>
            <a:ext cx="5014818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3817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77CA73A-0370-E7DC-2677-F9E3A7ECA0B3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61770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26" imgW="404" imgH="405" progId="TCLayout.ActiveDocument.1">
                  <p:embed/>
                </p:oleObj>
              </mc:Choice>
              <mc:Fallback>
                <p:oleObj name="think-cell Folie" r:id="rId26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CA73A-0370-E7DC-2677-F9E3A7ECA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761B64-84D4-8E4F-984B-F93502158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75" y="1051904"/>
            <a:ext cx="8767762" cy="11894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739987-CD12-2E48-A332-385A5CB91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90875" y="2550695"/>
            <a:ext cx="8767762" cy="36125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040AA5-CEAB-3B4B-9492-EFB0DEB11D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3297" y="6395389"/>
            <a:ext cx="1674534" cy="2304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F40698-4EE0-4AD9-A892-005BD21CCDDF}" type="datetimeFigureOut">
              <a:rPr lang="de-DE" smtClean="0"/>
              <a:t>12.11.2024</a:t>
            </a:fld>
            <a:endParaRPr lang="de-DE"/>
          </a:p>
        </p:txBody>
      </p:sp>
      <p:pic>
        <p:nvPicPr>
          <p:cNvPr id="8" name="Picture 7" descr="Textliches Logo des Ministerium für Wirtschaft, Industrie, Klimaschutz und Energie des Landes Nordrhein-Westfalen sowie einem Wappen des Bundeslandes Nordrhein-Westfalen">
            <a:extLst>
              <a:ext uri="{FF2B5EF4-FFF2-40B4-BE49-F238E27FC236}">
                <a16:creationId xmlns:a16="http://schemas.microsoft.com/office/drawing/2014/main" id="{3E5EB9AA-8A64-3375-1DDF-55CFFDBC340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120188" y="330493"/>
            <a:ext cx="2627312" cy="515694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30D0DE8-C24E-A2E0-0094-0F3F0E3EC162}"/>
              </a:ext>
            </a:extLst>
          </p:cNvPr>
          <p:cNvSpPr txBox="1">
            <a:spLocks/>
          </p:cNvSpPr>
          <p:nvPr/>
        </p:nvSpPr>
        <p:spPr>
          <a:xfrm>
            <a:off x="1386556" y="6395389"/>
            <a:ext cx="424042" cy="22490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E"/>
            </a:defPPr>
            <a:lvl1pPr marL="0" algn="r" defTabSz="914400" rtl="0" eaLnBrk="1" latinLnBrk="0" hangingPunct="1">
              <a:defRPr sz="105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561F3-FADA-DF43-977E-A09A0FDE6BE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1084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2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1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0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9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8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17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70000"/>
        <a:buFont typeface="Wingdings" pitchFamily="2" charset="2"/>
        <a:buChar char="§"/>
        <a:tabLst/>
        <a:defRPr sz="1700" kern="1200">
          <a:solidFill>
            <a:schemeClr val="bg1"/>
          </a:solidFill>
          <a:latin typeface="+mn-lt"/>
          <a:ea typeface="+mn-ea"/>
          <a:cs typeface="+mn-cs"/>
        </a:defRPr>
      </a:lvl6pPr>
      <a:lvl7pPr marL="19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60000"/>
        <a:buFont typeface="Wingdings" pitchFamily="2" charset="2"/>
        <a:buChar char="§"/>
        <a:defRPr sz="1700" kern="1200">
          <a:solidFill>
            <a:schemeClr val="bg1"/>
          </a:solidFill>
          <a:latin typeface="+mn-lt"/>
          <a:ea typeface="+mn-ea"/>
          <a:cs typeface="+mn-cs"/>
        </a:defRPr>
      </a:lvl7pPr>
      <a:lvl8pPr marL="22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50000"/>
        <a:buFont typeface="Wingdings" pitchFamily="2" charset="2"/>
        <a:buChar char="§"/>
        <a:defRPr sz="17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">
          <p15:clr>
            <a:srgbClr val="F26B43"/>
          </p15:clr>
        </p15:guide>
        <p15:guide id="2" pos="143">
          <p15:clr>
            <a:srgbClr val="F26B43"/>
          </p15:clr>
        </p15:guide>
        <p15:guide id="3" orient="horz" pos="4171">
          <p15:clr>
            <a:srgbClr val="F26B43"/>
          </p15:clr>
        </p15:guide>
        <p15:guide id="5" pos="2010">
          <p15:clr>
            <a:srgbClr val="F26B43"/>
          </p15:clr>
        </p15:guide>
        <p15:guide id="7" pos="3878">
          <p15:clr>
            <a:srgbClr val="F26B43"/>
          </p15:clr>
        </p15:guide>
        <p15:guide id="9" pos="5745">
          <p15:clr>
            <a:srgbClr val="F26B43"/>
          </p15:clr>
        </p15:guide>
        <p15:guide id="10" pos="7533">
          <p15:clr>
            <a:srgbClr val="F26B43"/>
          </p15:clr>
        </p15:guide>
        <p15:guide id="11" orient="horz" pos="658">
          <p15:clr>
            <a:srgbClr val="F26B43"/>
          </p15:clr>
        </p15:guide>
        <p15:guide id="12" orient="horz" pos="1412">
          <p15:clr>
            <a:srgbClr val="F26B43"/>
          </p15:clr>
        </p15:guide>
        <p15:guide id="13" orient="horz" pos="1602">
          <p15:clr>
            <a:srgbClr val="F26B43"/>
          </p15:clr>
        </p15:guide>
        <p15:guide id="14" orient="horz" pos="3885">
          <p15:clr>
            <a:srgbClr val="F26B43"/>
          </p15:clr>
        </p15:guide>
        <p15:guide id="15" pos="1786">
          <p15:clr>
            <a:srgbClr val="F26B43"/>
          </p15:clr>
        </p15:guide>
        <p15:guide id="16" pos="3653">
          <p15:clr>
            <a:srgbClr val="F26B43"/>
          </p15:clr>
        </p15:guide>
        <p15:guide id="17" pos="55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9" Type="http://schemas.openxmlformats.org/officeDocument/2006/relationships/image" Target="../media/image43.png"/><Relationship Id="rId21" Type="http://schemas.openxmlformats.org/officeDocument/2006/relationships/image" Target="../media/image25.png"/><Relationship Id="rId34" Type="http://schemas.openxmlformats.org/officeDocument/2006/relationships/image" Target="../media/image38.png"/><Relationship Id="rId42" Type="http://schemas.openxmlformats.org/officeDocument/2006/relationships/image" Target="../media/image46.png"/><Relationship Id="rId47" Type="http://schemas.openxmlformats.org/officeDocument/2006/relationships/image" Target="../media/image51.png"/><Relationship Id="rId50" Type="http://schemas.openxmlformats.org/officeDocument/2006/relationships/image" Target="../media/image54.png"/><Relationship Id="rId55" Type="http://schemas.openxmlformats.org/officeDocument/2006/relationships/image" Target="../media/image59.png"/><Relationship Id="rId63" Type="http://schemas.openxmlformats.org/officeDocument/2006/relationships/image" Target="../media/image6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29" Type="http://schemas.openxmlformats.org/officeDocument/2006/relationships/image" Target="../media/image33.png"/><Relationship Id="rId41" Type="http://schemas.openxmlformats.org/officeDocument/2006/relationships/image" Target="../media/image45.png"/><Relationship Id="rId54" Type="http://schemas.openxmlformats.org/officeDocument/2006/relationships/image" Target="../media/image58.png"/><Relationship Id="rId6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32" Type="http://schemas.openxmlformats.org/officeDocument/2006/relationships/image" Target="../media/image36.png"/><Relationship Id="rId37" Type="http://schemas.openxmlformats.org/officeDocument/2006/relationships/image" Target="../media/image41.png"/><Relationship Id="rId40" Type="http://schemas.openxmlformats.org/officeDocument/2006/relationships/image" Target="../media/image44.png"/><Relationship Id="rId45" Type="http://schemas.openxmlformats.org/officeDocument/2006/relationships/image" Target="../media/image49.png"/><Relationship Id="rId53" Type="http://schemas.openxmlformats.org/officeDocument/2006/relationships/image" Target="../media/image57.png"/><Relationship Id="rId58" Type="http://schemas.openxmlformats.org/officeDocument/2006/relationships/image" Target="../media/image62.png"/><Relationship Id="rId66" Type="http://schemas.openxmlformats.org/officeDocument/2006/relationships/image" Target="../media/image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36" Type="http://schemas.openxmlformats.org/officeDocument/2006/relationships/image" Target="../media/image40.png"/><Relationship Id="rId49" Type="http://schemas.openxmlformats.org/officeDocument/2006/relationships/image" Target="../media/image53.png"/><Relationship Id="rId57" Type="http://schemas.openxmlformats.org/officeDocument/2006/relationships/image" Target="../media/image61.png"/><Relationship Id="rId61" Type="http://schemas.openxmlformats.org/officeDocument/2006/relationships/image" Target="../media/image65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31" Type="http://schemas.openxmlformats.org/officeDocument/2006/relationships/image" Target="../media/image35.png"/><Relationship Id="rId44" Type="http://schemas.openxmlformats.org/officeDocument/2006/relationships/image" Target="../media/image48.png"/><Relationship Id="rId52" Type="http://schemas.openxmlformats.org/officeDocument/2006/relationships/image" Target="../media/image56.png"/><Relationship Id="rId60" Type="http://schemas.openxmlformats.org/officeDocument/2006/relationships/image" Target="../media/image64.png"/><Relationship Id="rId65" Type="http://schemas.openxmlformats.org/officeDocument/2006/relationships/image" Target="../media/image6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Relationship Id="rId30" Type="http://schemas.openxmlformats.org/officeDocument/2006/relationships/image" Target="../media/image34.png"/><Relationship Id="rId35" Type="http://schemas.openxmlformats.org/officeDocument/2006/relationships/image" Target="../media/image39.png"/><Relationship Id="rId43" Type="http://schemas.openxmlformats.org/officeDocument/2006/relationships/image" Target="../media/image47.png"/><Relationship Id="rId48" Type="http://schemas.openxmlformats.org/officeDocument/2006/relationships/image" Target="../media/image52.png"/><Relationship Id="rId56" Type="http://schemas.openxmlformats.org/officeDocument/2006/relationships/image" Target="../media/image60.png"/><Relationship Id="rId64" Type="http://schemas.openxmlformats.org/officeDocument/2006/relationships/image" Target="../media/image68.png"/><Relationship Id="rId8" Type="http://schemas.openxmlformats.org/officeDocument/2006/relationships/image" Target="../media/image12.png"/><Relationship Id="rId51" Type="http://schemas.openxmlformats.org/officeDocument/2006/relationships/image" Target="../media/image55.png"/><Relationship Id="rId3" Type="http://schemas.openxmlformats.org/officeDocument/2006/relationships/image" Target="../media/image7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33" Type="http://schemas.openxmlformats.org/officeDocument/2006/relationships/image" Target="../media/image37.png"/><Relationship Id="rId38" Type="http://schemas.openxmlformats.org/officeDocument/2006/relationships/image" Target="../media/image42.png"/><Relationship Id="rId46" Type="http://schemas.openxmlformats.org/officeDocument/2006/relationships/image" Target="../media/image50.png"/><Relationship Id="rId59" Type="http://schemas.openxmlformats.org/officeDocument/2006/relationships/image" Target="../media/image6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71.svg"/><Relationship Id="rId7" Type="http://schemas.openxmlformats.org/officeDocument/2006/relationships/image" Target="../media/image75.sv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svg"/><Relationship Id="rId4" Type="http://schemas.openxmlformats.org/officeDocument/2006/relationships/image" Target="../media/image7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gif"/><Relationship Id="rId4" Type="http://schemas.openxmlformats.org/officeDocument/2006/relationships/image" Target="../media/image7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svg"/><Relationship Id="rId7" Type="http://schemas.openxmlformats.org/officeDocument/2006/relationships/image" Target="../media/image86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svg"/><Relationship Id="rId10" Type="http://schemas.openxmlformats.org/officeDocument/2006/relationships/image" Target="../media/image5.png"/><Relationship Id="rId4" Type="http://schemas.openxmlformats.org/officeDocument/2006/relationships/image" Target="../media/image83.png"/><Relationship Id="rId9" Type="http://schemas.openxmlformats.org/officeDocument/2006/relationships/image" Target="../media/image8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26DD098-E940-43EC-AFC9-FAE44D990964}"/>
              </a:ext>
            </a:extLst>
          </p:cNvPr>
          <p:cNvSpPr/>
          <p:nvPr/>
        </p:nvSpPr>
        <p:spPr>
          <a:xfrm>
            <a:off x="-95794" y="1362749"/>
            <a:ext cx="12192000" cy="475164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E83DD5-D2A1-47CB-A195-BBAB1C2B2C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3306" y="2526632"/>
            <a:ext cx="8767763" cy="1292534"/>
          </a:xfrm>
        </p:spPr>
        <p:txBody>
          <a:bodyPr>
            <a:noAutofit/>
          </a:bodyPr>
          <a:lstStyle/>
          <a:p>
            <a:r>
              <a:rPr lang="de-DE" sz="2400" dirty="0"/>
              <a:t>OZG-Reifegrad 4 und Strategieausblick Weiterentwicklung WSP.NRW in 2025</a:t>
            </a:r>
            <a:br>
              <a:rPr lang="de-DE" sz="2400" b="1" dirty="0">
                <a:solidFill>
                  <a:schemeClr val="accent1">
                    <a:lumMod val="50000"/>
                  </a:schemeClr>
                </a:solidFill>
                <a:effectLst/>
                <a:latin typeface="BundesSans Regular"/>
              </a:rPr>
            </a:br>
            <a:b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BundesSans Regular"/>
                <a:ea typeface="+mn-ea"/>
                <a:cs typeface="+mn-cs"/>
              </a:rPr>
            </a:br>
            <a:endParaRPr lang="de-DE" sz="24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A13A3BA-132A-4F73-A461-5436005989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6" y="3819166"/>
            <a:ext cx="8767762" cy="2155260"/>
          </a:xfrm>
        </p:spPr>
        <p:txBody>
          <a:bodyPr>
            <a:normAutofit/>
          </a:bodyPr>
          <a:lstStyle/>
          <a:p>
            <a:r>
              <a:rPr lang="de-DE" sz="1200" b="1" dirty="0"/>
              <a:t>Jasmin Deling</a:t>
            </a:r>
          </a:p>
          <a:p>
            <a:r>
              <a:rPr lang="de-DE" sz="1200" dirty="0"/>
              <a:t>Leiterin der Stabsstelle „Digitalisierung für die Wirtschaft“</a:t>
            </a:r>
            <a:br>
              <a:rPr lang="de-DE" sz="1200" dirty="0"/>
            </a:br>
            <a:r>
              <a:rPr lang="de-DE" sz="1200" dirty="0"/>
              <a:t>Ministerium für Wirtschaft, Industrie, Klimaschutz und Energie NRW</a:t>
            </a:r>
          </a:p>
          <a:p>
            <a:endParaRPr lang="de-DE" sz="1200" dirty="0"/>
          </a:p>
          <a:p>
            <a:r>
              <a:rPr lang="de-DE" sz="1200" dirty="0"/>
              <a:t>13.11.2024</a:t>
            </a:r>
          </a:p>
          <a:p>
            <a:endParaRPr lang="de-DE" dirty="0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14CFAECB-5C1F-4062-B20A-99A690BA3BA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8" b="28"/>
          <a:stretch>
            <a:fillRect/>
          </a:stretch>
        </p:blipFill>
        <p:spPr>
          <a:xfrm>
            <a:off x="0" y="1044575"/>
            <a:ext cx="2835275" cy="58197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8EE2ADB-E351-45AD-A45E-E4D20CC473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" y="1035815"/>
            <a:ext cx="2834886" cy="5822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291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22AAC-6BD3-47AF-BC1B-FF83CD330F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8284" y="1946788"/>
            <a:ext cx="8767763" cy="893906"/>
          </a:xfrm>
        </p:spPr>
        <p:txBody>
          <a:bodyPr>
            <a:normAutofit/>
          </a:bodyPr>
          <a:lstStyle/>
          <a:p>
            <a:r>
              <a:rPr lang="de-DE" sz="3600" dirty="0"/>
              <a:t>Vielen Dank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E9CAE5-941D-4BD9-AE88-96D8ADFF7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990078"/>
          </a:xfrm>
        </p:spPr>
        <p:txBody>
          <a:bodyPr>
            <a:normAutofit/>
          </a:bodyPr>
          <a:lstStyle/>
          <a:p>
            <a:r>
              <a:rPr lang="de-DE" sz="1400" b="1" dirty="0">
                <a:latin typeface="+mn-lt"/>
              </a:rPr>
              <a:t>Jasmin Deling</a:t>
            </a:r>
          </a:p>
          <a:p>
            <a:r>
              <a:rPr lang="de-DE" sz="1400" dirty="0">
                <a:latin typeface="+mn-lt"/>
              </a:rPr>
              <a:t>Leiterin der Stabsstelle „Digitalisierung für die Wirtschaft“</a:t>
            </a:r>
          </a:p>
          <a:p>
            <a:r>
              <a:rPr lang="de-DE" sz="1400" dirty="0">
                <a:latin typeface="+mn-lt"/>
              </a:rPr>
              <a:t>Ministerium für Wirtschaft, Industrie, Klimaschutz und Energie NRW</a:t>
            </a:r>
          </a:p>
          <a:p>
            <a:r>
              <a:rPr lang="de-DE" sz="1400" dirty="0">
                <a:latin typeface="+mn-lt"/>
              </a:rPr>
              <a:t>Jasmin.Deling@mwike.nrw.de</a:t>
            </a:r>
          </a:p>
          <a:p>
            <a:endParaRPr lang="de-DE" dirty="0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F249118E-2E54-4CBA-A301-76C0C3072CB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8" b="28"/>
          <a:stretch>
            <a:fillRect/>
          </a:stretch>
        </p:blipFill>
        <p:spPr>
          <a:xfrm>
            <a:off x="0" y="1044575"/>
            <a:ext cx="2835275" cy="581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00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EB7091-63AF-C473-1CA4-80046FEB3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739289"/>
            <a:ext cx="11731624" cy="652100"/>
          </a:xfrm>
        </p:spPr>
        <p:txBody>
          <a:bodyPr/>
          <a:lstStyle/>
          <a:p>
            <a:r>
              <a:rPr lang="de-DE" sz="2800" dirty="0"/>
              <a:t>Agenda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3796AF-83A7-87F3-5498-BD0B223B76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7578" y="2490987"/>
            <a:ext cx="10789869" cy="1876026"/>
          </a:xfrm>
        </p:spPr>
        <p:txBody>
          <a:bodyPr vert="horz" lIns="0" tIns="0" rIns="0" bIns="0" rtlCol="0" anchor="t">
            <a:noAutofit/>
          </a:bodyPr>
          <a:lstStyle/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1800" i="0" u="none" strike="noStrike" kern="1200" dirty="0">
                <a:solidFill>
                  <a:srgbClr val="354847"/>
                </a:solidFill>
                <a:effectLst/>
                <a:ea typeface="Calibri" panose="020F0502020204030204" pitchFamily="34" charset="0"/>
              </a:rPr>
              <a:t>OZG-Reifegrad 4</a:t>
            </a:r>
          </a:p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800" b="1" dirty="0">
              <a:solidFill>
                <a:srgbClr val="354847"/>
              </a:solidFill>
            </a:endParaRPr>
          </a:p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800" b="1" i="0" u="none" strike="noStrike" kern="1200" dirty="0">
              <a:solidFill>
                <a:srgbClr val="354847"/>
              </a:solidFill>
              <a:effectLst/>
            </a:endParaRPr>
          </a:p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800" b="1" dirty="0">
              <a:solidFill>
                <a:srgbClr val="354847"/>
              </a:solidFill>
            </a:endParaRPr>
          </a:p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1800" i="0" u="none" strike="noStrike" kern="1200" dirty="0">
                <a:solidFill>
                  <a:srgbClr val="354847"/>
                </a:solidFill>
                <a:effectLst/>
              </a:rPr>
              <a:t>Strategieausblick Weiterentwicklung WSP.NRW in</a:t>
            </a:r>
            <a:r>
              <a:rPr lang="de-DE" sz="1800" i="0" u="none" strike="noStrike" kern="1200" baseline="0" dirty="0">
                <a:solidFill>
                  <a:srgbClr val="354847"/>
                </a:solidFill>
                <a:effectLst/>
              </a:rPr>
              <a:t> 2025</a:t>
            </a:r>
            <a:endParaRPr lang="de-DE" sz="1800" i="0" u="none" strike="noStrike" dirty="0">
              <a:effectLst/>
            </a:endParaRPr>
          </a:p>
          <a:p>
            <a:pPr marL="0" inden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2000" dirty="0"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742198-B5DF-E0DE-926D-B9A6E868B0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180" y="6389413"/>
            <a:ext cx="2929032" cy="230490"/>
          </a:xfrm>
        </p:spPr>
        <p:txBody>
          <a:bodyPr/>
          <a:lstStyle/>
          <a:p>
            <a:r>
              <a:rPr lang="de-DE" sz="800" dirty="0"/>
              <a:t>13.11.2024 WSP-Infoveranstaltung</a:t>
            </a:r>
          </a:p>
        </p:txBody>
      </p:sp>
      <p:sp>
        <p:nvSpPr>
          <p:cNvPr id="6" name="Flussdiagramm: Verzögerung 5">
            <a:extLst>
              <a:ext uri="{FF2B5EF4-FFF2-40B4-BE49-F238E27FC236}">
                <a16:creationId xmlns:a16="http://schemas.microsoft.com/office/drawing/2014/main" id="{95C81452-7083-8278-57FA-B01C86E0E8C5}"/>
              </a:ext>
            </a:extLst>
          </p:cNvPr>
          <p:cNvSpPr/>
          <p:nvPr/>
        </p:nvSpPr>
        <p:spPr>
          <a:xfrm>
            <a:off x="11204" y="1919654"/>
            <a:ext cx="2505807" cy="3018692"/>
          </a:xfrm>
          <a:prstGeom prst="flowChartDelay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5308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09099E-1206-4ABC-A139-05F31F9C17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88" y="784265"/>
            <a:ext cx="11731624" cy="442991"/>
          </a:xfrm>
        </p:spPr>
        <p:txBody>
          <a:bodyPr/>
          <a:lstStyle/>
          <a:p>
            <a:r>
              <a:rPr lang="de-DE" sz="2200" b="1" dirty="0">
                <a:latin typeface="+mn-lt"/>
              </a:rPr>
              <a:t>WSP.NRW als zukunftsfähige Basis für eine Projektentwicklung mit föderalem Fokus </a:t>
            </a:r>
            <a:endParaRPr lang="de-DE" sz="22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284CBF50-8E2E-44B9-A7F2-A4949910A493}"/>
              </a:ext>
            </a:extLst>
          </p:cNvPr>
          <p:cNvGrpSpPr/>
          <p:nvPr/>
        </p:nvGrpSpPr>
        <p:grpSpPr>
          <a:xfrm>
            <a:off x="477995" y="1657398"/>
            <a:ext cx="11147065" cy="4433590"/>
            <a:chOff x="468765" y="1591147"/>
            <a:chExt cx="11156042" cy="4818727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FAC3DD3-BA22-4827-AF2E-BF69E525272D}"/>
                </a:ext>
              </a:extLst>
            </p:cNvPr>
            <p:cNvSpPr/>
            <p:nvPr/>
          </p:nvSpPr>
          <p:spPr>
            <a:xfrm>
              <a:off x="468765" y="5095729"/>
              <a:ext cx="919901" cy="1314145"/>
            </a:xfrm>
            <a:custGeom>
              <a:avLst/>
              <a:gdLst>
                <a:gd name="connsiteX0" fmla="*/ 0 w 1314145"/>
                <a:gd name="connsiteY0" fmla="*/ 0 h 919901"/>
                <a:gd name="connsiteX1" fmla="*/ 854195 w 1314145"/>
                <a:gd name="connsiteY1" fmla="*/ 0 h 919901"/>
                <a:gd name="connsiteX2" fmla="*/ 1314145 w 1314145"/>
                <a:gd name="connsiteY2" fmla="*/ 459951 h 919901"/>
                <a:gd name="connsiteX3" fmla="*/ 854195 w 1314145"/>
                <a:gd name="connsiteY3" fmla="*/ 919901 h 919901"/>
                <a:gd name="connsiteX4" fmla="*/ 0 w 1314145"/>
                <a:gd name="connsiteY4" fmla="*/ 919901 h 919901"/>
                <a:gd name="connsiteX5" fmla="*/ 459951 w 1314145"/>
                <a:gd name="connsiteY5" fmla="*/ 459951 h 919901"/>
                <a:gd name="connsiteX6" fmla="*/ 0 w 1314145"/>
                <a:gd name="connsiteY6" fmla="*/ 0 h 919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4145" h="919901">
                  <a:moveTo>
                    <a:pt x="1314145" y="0"/>
                  </a:moveTo>
                  <a:lnTo>
                    <a:pt x="1314145" y="597936"/>
                  </a:lnTo>
                  <a:lnTo>
                    <a:pt x="657072" y="919901"/>
                  </a:lnTo>
                  <a:lnTo>
                    <a:pt x="0" y="597936"/>
                  </a:lnTo>
                  <a:lnTo>
                    <a:pt x="0" y="0"/>
                  </a:lnTo>
                  <a:lnTo>
                    <a:pt x="657072" y="321966"/>
                  </a:lnTo>
                  <a:lnTo>
                    <a:pt x="1314145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spcFirstLastPara="0" vert="horz" wrap="square" lIns="15876" tIns="475827" rIns="15874" bIns="475825" numCol="1" spcCol="1270" anchor="ctr" anchorCtr="0">
              <a:noAutofit/>
            </a:bodyPr>
            <a:lstStyle/>
            <a:p>
              <a:pPr marL="0" marR="0" lvl="0" indent="0" algn="ctr" defTabSz="111125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2024</a:t>
              </a:r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70AA4F20-2248-4CED-8133-77A069A7A924}"/>
                </a:ext>
              </a:extLst>
            </p:cNvPr>
            <p:cNvGrpSpPr/>
            <p:nvPr/>
          </p:nvGrpSpPr>
          <p:grpSpPr>
            <a:xfrm>
              <a:off x="468765" y="1591147"/>
              <a:ext cx="11156042" cy="4358776"/>
              <a:chOff x="468765" y="1591147"/>
              <a:chExt cx="11156042" cy="4358776"/>
            </a:xfrm>
          </p:grpSpPr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9E566FCB-11A8-4BCC-B7F2-8AD483FBC2E2}"/>
                  </a:ext>
                </a:extLst>
              </p:cNvPr>
              <p:cNvSpPr/>
              <p:nvPr/>
            </p:nvSpPr>
            <p:spPr>
              <a:xfrm>
                <a:off x="468765" y="1591147"/>
                <a:ext cx="919901" cy="1314146"/>
              </a:xfrm>
              <a:custGeom>
                <a:avLst/>
                <a:gdLst>
                  <a:gd name="connsiteX0" fmla="*/ 0 w 1314145"/>
                  <a:gd name="connsiteY0" fmla="*/ 0 h 919901"/>
                  <a:gd name="connsiteX1" fmla="*/ 854195 w 1314145"/>
                  <a:gd name="connsiteY1" fmla="*/ 0 h 919901"/>
                  <a:gd name="connsiteX2" fmla="*/ 1314145 w 1314145"/>
                  <a:gd name="connsiteY2" fmla="*/ 459951 h 919901"/>
                  <a:gd name="connsiteX3" fmla="*/ 854195 w 1314145"/>
                  <a:gd name="connsiteY3" fmla="*/ 919901 h 919901"/>
                  <a:gd name="connsiteX4" fmla="*/ 0 w 1314145"/>
                  <a:gd name="connsiteY4" fmla="*/ 919901 h 919901"/>
                  <a:gd name="connsiteX5" fmla="*/ 459951 w 1314145"/>
                  <a:gd name="connsiteY5" fmla="*/ 459951 h 919901"/>
                  <a:gd name="connsiteX6" fmla="*/ 0 w 1314145"/>
                  <a:gd name="connsiteY6" fmla="*/ 0 h 91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4145" h="919901">
                    <a:moveTo>
                      <a:pt x="1314145" y="0"/>
                    </a:moveTo>
                    <a:lnTo>
                      <a:pt x="1314145" y="597936"/>
                    </a:lnTo>
                    <a:lnTo>
                      <a:pt x="657072" y="919901"/>
                    </a:lnTo>
                    <a:lnTo>
                      <a:pt x="0" y="597936"/>
                    </a:lnTo>
                    <a:lnTo>
                      <a:pt x="0" y="0"/>
                    </a:lnTo>
                    <a:lnTo>
                      <a:pt x="657072" y="321966"/>
                    </a:lnTo>
                    <a:lnTo>
                      <a:pt x="131414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5876" tIns="475827" rIns="15874" bIns="475825" numCol="1" spcCol="1270" anchor="ctr" anchorCtr="0">
                <a:noAutofit/>
              </a:bodyPr>
              <a:lstStyle/>
              <a:p>
                <a:pPr marL="0" marR="0" lvl="0" indent="0" algn="ctr" defTabSz="11112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2020</a:t>
                </a:r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56CB783-EDEC-424D-8742-6D31ECC5C4BB}"/>
                  </a:ext>
                </a:extLst>
              </p:cNvPr>
              <p:cNvSpPr/>
              <p:nvPr/>
            </p:nvSpPr>
            <p:spPr>
              <a:xfrm>
                <a:off x="1388665" y="1591147"/>
                <a:ext cx="10236142" cy="854194"/>
              </a:xfrm>
              <a:custGeom>
                <a:avLst/>
                <a:gdLst>
                  <a:gd name="connsiteX0" fmla="*/ 142369 w 854194"/>
                  <a:gd name="connsiteY0" fmla="*/ 0 h 10106534"/>
                  <a:gd name="connsiteX1" fmla="*/ 711825 w 854194"/>
                  <a:gd name="connsiteY1" fmla="*/ 0 h 10106534"/>
                  <a:gd name="connsiteX2" fmla="*/ 854194 w 854194"/>
                  <a:gd name="connsiteY2" fmla="*/ 142369 h 10106534"/>
                  <a:gd name="connsiteX3" fmla="*/ 854194 w 854194"/>
                  <a:gd name="connsiteY3" fmla="*/ 10106534 h 10106534"/>
                  <a:gd name="connsiteX4" fmla="*/ 854194 w 854194"/>
                  <a:gd name="connsiteY4" fmla="*/ 10106534 h 10106534"/>
                  <a:gd name="connsiteX5" fmla="*/ 0 w 854194"/>
                  <a:gd name="connsiteY5" fmla="*/ 10106534 h 10106534"/>
                  <a:gd name="connsiteX6" fmla="*/ 0 w 854194"/>
                  <a:gd name="connsiteY6" fmla="*/ 10106534 h 10106534"/>
                  <a:gd name="connsiteX7" fmla="*/ 0 w 854194"/>
                  <a:gd name="connsiteY7" fmla="*/ 142369 h 10106534"/>
                  <a:gd name="connsiteX8" fmla="*/ 142369 w 854194"/>
                  <a:gd name="connsiteY8" fmla="*/ 0 h 1010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4194" h="10106534">
                    <a:moveTo>
                      <a:pt x="854194" y="1684466"/>
                    </a:moveTo>
                    <a:lnTo>
                      <a:pt x="854194" y="8422068"/>
                    </a:lnTo>
                    <a:cubicBezTo>
                      <a:pt x="854194" y="9352367"/>
                      <a:pt x="848807" y="10106528"/>
                      <a:pt x="842161" y="10106528"/>
                    </a:cubicBezTo>
                    <a:lnTo>
                      <a:pt x="0" y="10106528"/>
                    </a:lnTo>
                    <a:lnTo>
                      <a:pt x="0" y="1010652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842161" y="6"/>
                    </a:lnTo>
                    <a:cubicBezTo>
                      <a:pt x="848807" y="6"/>
                      <a:pt x="854194" y="754167"/>
                      <a:pt x="854194" y="1684466"/>
                    </a:cubicBezTo>
                    <a:close/>
                  </a:path>
                </a:pathLst>
              </a:custGeom>
              <a:solidFill>
                <a:srgbClr val="F4F2E7">
                  <a:alpha val="90000"/>
                </a:srgbClr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13792" tIns="51858" rIns="51858" bIns="51858" numCol="1" spcCol="1270" anchor="ctr" anchorCtr="0">
                <a:noAutofit/>
              </a:bodyPr>
              <a:lstStyle/>
              <a:p>
                <a:pPr marL="171450" marR="0" lvl="1" indent="-171450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Wirtschafts-Portal-Gesetz NRW (</a:t>
                </a:r>
                <a:r>
                  <a:rPr kumimoji="0" lang="de-DE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WiPG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 NRW) 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 zum 01.07.2020 in-Kraft-getreten; rechtliche zukunftsfähige Basis für WSP.NRW – aktuell Novelle für 2025 in Vorbereitung – </a:t>
                </a:r>
                <a:r>
                  <a:rPr kumimoji="0" lang="de-DE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„Digital-</a:t>
                </a:r>
                <a:r>
                  <a:rPr kumimoji="0" lang="de-DE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Only</a:t>
                </a:r>
                <a:r>
                  <a:rPr kumimoji="0" lang="de-DE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“ für WSP-ODs ab 01.01.2026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endParaRPr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81B59A4B-7DE1-481E-A0AB-3346652AC183}"/>
                  </a:ext>
                </a:extLst>
              </p:cNvPr>
              <p:cNvSpPr/>
              <p:nvPr/>
            </p:nvSpPr>
            <p:spPr>
              <a:xfrm>
                <a:off x="468765" y="2759342"/>
                <a:ext cx="919901" cy="1314145"/>
              </a:xfrm>
              <a:custGeom>
                <a:avLst/>
                <a:gdLst>
                  <a:gd name="connsiteX0" fmla="*/ 0 w 1314145"/>
                  <a:gd name="connsiteY0" fmla="*/ 0 h 919901"/>
                  <a:gd name="connsiteX1" fmla="*/ 854195 w 1314145"/>
                  <a:gd name="connsiteY1" fmla="*/ 0 h 919901"/>
                  <a:gd name="connsiteX2" fmla="*/ 1314145 w 1314145"/>
                  <a:gd name="connsiteY2" fmla="*/ 459951 h 919901"/>
                  <a:gd name="connsiteX3" fmla="*/ 854195 w 1314145"/>
                  <a:gd name="connsiteY3" fmla="*/ 919901 h 919901"/>
                  <a:gd name="connsiteX4" fmla="*/ 0 w 1314145"/>
                  <a:gd name="connsiteY4" fmla="*/ 919901 h 919901"/>
                  <a:gd name="connsiteX5" fmla="*/ 459951 w 1314145"/>
                  <a:gd name="connsiteY5" fmla="*/ 459951 h 919901"/>
                  <a:gd name="connsiteX6" fmla="*/ 0 w 1314145"/>
                  <a:gd name="connsiteY6" fmla="*/ 0 h 91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4145" h="919901">
                    <a:moveTo>
                      <a:pt x="1314145" y="0"/>
                    </a:moveTo>
                    <a:lnTo>
                      <a:pt x="1314145" y="597936"/>
                    </a:lnTo>
                    <a:lnTo>
                      <a:pt x="657072" y="919901"/>
                    </a:lnTo>
                    <a:lnTo>
                      <a:pt x="0" y="597936"/>
                    </a:lnTo>
                    <a:lnTo>
                      <a:pt x="0" y="0"/>
                    </a:lnTo>
                    <a:lnTo>
                      <a:pt x="657072" y="321966"/>
                    </a:lnTo>
                    <a:lnTo>
                      <a:pt x="131414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5876" tIns="475827" rIns="15874" bIns="475825" numCol="1" spcCol="1270" anchor="ctr" anchorCtr="0">
                <a:noAutofit/>
              </a:bodyPr>
              <a:lstStyle/>
              <a:p>
                <a:pPr marL="0" marR="0" lvl="0" indent="0" algn="ctr" defTabSz="11112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2021</a:t>
                </a:r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005A15CD-27F3-450F-A0F8-50DF1F058298}"/>
                  </a:ext>
                </a:extLst>
              </p:cNvPr>
              <p:cNvSpPr/>
              <p:nvPr/>
            </p:nvSpPr>
            <p:spPr>
              <a:xfrm>
                <a:off x="1388665" y="2759342"/>
                <a:ext cx="10106534" cy="854194"/>
              </a:xfrm>
              <a:custGeom>
                <a:avLst/>
                <a:gdLst>
                  <a:gd name="connsiteX0" fmla="*/ 142369 w 854194"/>
                  <a:gd name="connsiteY0" fmla="*/ 0 h 10106534"/>
                  <a:gd name="connsiteX1" fmla="*/ 711825 w 854194"/>
                  <a:gd name="connsiteY1" fmla="*/ 0 h 10106534"/>
                  <a:gd name="connsiteX2" fmla="*/ 854194 w 854194"/>
                  <a:gd name="connsiteY2" fmla="*/ 142369 h 10106534"/>
                  <a:gd name="connsiteX3" fmla="*/ 854194 w 854194"/>
                  <a:gd name="connsiteY3" fmla="*/ 10106534 h 10106534"/>
                  <a:gd name="connsiteX4" fmla="*/ 854194 w 854194"/>
                  <a:gd name="connsiteY4" fmla="*/ 10106534 h 10106534"/>
                  <a:gd name="connsiteX5" fmla="*/ 0 w 854194"/>
                  <a:gd name="connsiteY5" fmla="*/ 10106534 h 10106534"/>
                  <a:gd name="connsiteX6" fmla="*/ 0 w 854194"/>
                  <a:gd name="connsiteY6" fmla="*/ 10106534 h 10106534"/>
                  <a:gd name="connsiteX7" fmla="*/ 0 w 854194"/>
                  <a:gd name="connsiteY7" fmla="*/ 142369 h 10106534"/>
                  <a:gd name="connsiteX8" fmla="*/ 142369 w 854194"/>
                  <a:gd name="connsiteY8" fmla="*/ 0 h 1010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4194" h="10106534">
                    <a:moveTo>
                      <a:pt x="854194" y="1684466"/>
                    </a:moveTo>
                    <a:lnTo>
                      <a:pt x="854194" y="8422068"/>
                    </a:lnTo>
                    <a:cubicBezTo>
                      <a:pt x="854194" y="9352367"/>
                      <a:pt x="848807" y="10106528"/>
                      <a:pt x="842161" y="10106528"/>
                    </a:cubicBezTo>
                    <a:lnTo>
                      <a:pt x="0" y="10106528"/>
                    </a:lnTo>
                    <a:lnTo>
                      <a:pt x="0" y="1010652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842161" y="6"/>
                    </a:lnTo>
                    <a:cubicBezTo>
                      <a:pt x="848807" y="6"/>
                      <a:pt x="854194" y="754167"/>
                      <a:pt x="854194" y="1684466"/>
                    </a:cubicBezTo>
                    <a:close/>
                  </a:path>
                </a:pathLst>
              </a:custGeom>
              <a:solidFill>
                <a:srgbClr val="F4F2E7">
                  <a:alpha val="90000"/>
                </a:srgbClr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13792" tIns="51858" rIns="51858" bIns="51858" numCol="1" spcCol="1270" anchor="ctr" anchorCtr="0">
                <a:noAutofit/>
              </a:bodyPr>
              <a:lstStyle/>
              <a:p>
                <a:pPr marL="171450" marR="0" lvl="1" indent="-171450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Start EfA-Umsetzung im WSP.NRW 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 Anfang 2021; nach Abschluss der Bund-Länder-Staatsverträge Ende 2020; aktuell: 12 Länder (inkl. NRW) in der MNA „Wirtschaftsverwaltungsvollzug NRW“ </a:t>
                </a: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endParaRPr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E3E2174E-0EBE-4185-BB81-571B3703A45A}"/>
                  </a:ext>
                </a:extLst>
              </p:cNvPr>
              <p:cNvSpPr/>
              <p:nvPr/>
            </p:nvSpPr>
            <p:spPr>
              <a:xfrm>
                <a:off x="468765" y="3927535"/>
                <a:ext cx="919901" cy="1314145"/>
              </a:xfrm>
              <a:custGeom>
                <a:avLst/>
                <a:gdLst>
                  <a:gd name="connsiteX0" fmla="*/ 0 w 1314145"/>
                  <a:gd name="connsiteY0" fmla="*/ 0 h 919901"/>
                  <a:gd name="connsiteX1" fmla="*/ 854195 w 1314145"/>
                  <a:gd name="connsiteY1" fmla="*/ 0 h 919901"/>
                  <a:gd name="connsiteX2" fmla="*/ 1314145 w 1314145"/>
                  <a:gd name="connsiteY2" fmla="*/ 459951 h 919901"/>
                  <a:gd name="connsiteX3" fmla="*/ 854195 w 1314145"/>
                  <a:gd name="connsiteY3" fmla="*/ 919901 h 919901"/>
                  <a:gd name="connsiteX4" fmla="*/ 0 w 1314145"/>
                  <a:gd name="connsiteY4" fmla="*/ 919901 h 919901"/>
                  <a:gd name="connsiteX5" fmla="*/ 459951 w 1314145"/>
                  <a:gd name="connsiteY5" fmla="*/ 459951 h 919901"/>
                  <a:gd name="connsiteX6" fmla="*/ 0 w 1314145"/>
                  <a:gd name="connsiteY6" fmla="*/ 0 h 91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4145" h="919901">
                    <a:moveTo>
                      <a:pt x="1314145" y="0"/>
                    </a:moveTo>
                    <a:lnTo>
                      <a:pt x="1314145" y="597936"/>
                    </a:lnTo>
                    <a:lnTo>
                      <a:pt x="657072" y="919901"/>
                    </a:lnTo>
                    <a:lnTo>
                      <a:pt x="0" y="597936"/>
                    </a:lnTo>
                    <a:lnTo>
                      <a:pt x="0" y="0"/>
                    </a:lnTo>
                    <a:lnTo>
                      <a:pt x="657072" y="321966"/>
                    </a:lnTo>
                    <a:lnTo>
                      <a:pt x="131414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5876" tIns="475827" rIns="15874" bIns="475825" numCol="1" spcCol="1270" anchor="ctr" anchorCtr="0">
                <a:noAutofit/>
              </a:bodyPr>
              <a:lstStyle/>
              <a:p>
                <a:pPr marL="0" marR="0" lvl="0" indent="0" algn="ctr" defTabSz="11112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2021</a:t>
                </a:r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E42FD94F-F90B-4A93-807E-70EB54429461}"/>
                  </a:ext>
                </a:extLst>
              </p:cNvPr>
              <p:cNvSpPr/>
              <p:nvPr/>
            </p:nvSpPr>
            <p:spPr>
              <a:xfrm>
                <a:off x="1388665" y="3927535"/>
                <a:ext cx="10106534" cy="854195"/>
              </a:xfrm>
              <a:custGeom>
                <a:avLst/>
                <a:gdLst>
                  <a:gd name="connsiteX0" fmla="*/ 142369 w 854194"/>
                  <a:gd name="connsiteY0" fmla="*/ 0 h 10106534"/>
                  <a:gd name="connsiteX1" fmla="*/ 711825 w 854194"/>
                  <a:gd name="connsiteY1" fmla="*/ 0 h 10106534"/>
                  <a:gd name="connsiteX2" fmla="*/ 854194 w 854194"/>
                  <a:gd name="connsiteY2" fmla="*/ 142369 h 10106534"/>
                  <a:gd name="connsiteX3" fmla="*/ 854194 w 854194"/>
                  <a:gd name="connsiteY3" fmla="*/ 10106534 h 10106534"/>
                  <a:gd name="connsiteX4" fmla="*/ 854194 w 854194"/>
                  <a:gd name="connsiteY4" fmla="*/ 10106534 h 10106534"/>
                  <a:gd name="connsiteX5" fmla="*/ 0 w 854194"/>
                  <a:gd name="connsiteY5" fmla="*/ 10106534 h 10106534"/>
                  <a:gd name="connsiteX6" fmla="*/ 0 w 854194"/>
                  <a:gd name="connsiteY6" fmla="*/ 10106534 h 10106534"/>
                  <a:gd name="connsiteX7" fmla="*/ 0 w 854194"/>
                  <a:gd name="connsiteY7" fmla="*/ 142369 h 10106534"/>
                  <a:gd name="connsiteX8" fmla="*/ 142369 w 854194"/>
                  <a:gd name="connsiteY8" fmla="*/ 0 h 1010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4194" h="10106534">
                    <a:moveTo>
                      <a:pt x="854194" y="1684466"/>
                    </a:moveTo>
                    <a:lnTo>
                      <a:pt x="854194" y="8422068"/>
                    </a:lnTo>
                    <a:cubicBezTo>
                      <a:pt x="854194" y="9352367"/>
                      <a:pt x="848807" y="10106528"/>
                      <a:pt x="842161" y="10106528"/>
                    </a:cubicBezTo>
                    <a:lnTo>
                      <a:pt x="0" y="10106528"/>
                    </a:lnTo>
                    <a:lnTo>
                      <a:pt x="0" y="1010652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842161" y="6"/>
                    </a:lnTo>
                    <a:cubicBezTo>
                      <a:pt x="848807" y="6"/>
                      <a:pt x="854194" y="754167"/>
                      <a:pt x="854194" y="1684466"/>
                    </a:cubicBezTo>
                    <a:close/>
                  </a:path>
                </a:pathLst>
              </a:custGeom>
              <a:solidFill>
                <a:srgbClr val="F4F2E7">
                  <a:alpha val="90000"/>
                </a:srgbClr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13792" tIns="51858" rIns="51858" bIns="51858" numCol="1" spcCol="1270" anchor="ctr" anchorCtr="0">
                <a:noAutofit/>
              </a:bodyPr>
              <a:lstStyle/>
              <a:p>
                <a:pPr marL="171450" marR="0" lvl="1" indent="-171450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Start „Gesamtsteuerungsprojekt Registermodernisierung“ als Fortführung des vorlaufenden „Koordinierungsprojektes“ (2017-2021) 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 </a:t>
                </a:r>
                <a:r>
                  <a:rPr kumimoji="0" lang="de-DE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MWIKE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 als Länder-FF / Programmverantwortung EU-</a:t>
                </a:r>
                <a:r>
                  <a:rPr kumimoji="0" lang="de-DE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OOTS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/</a:t>
                </a:r>
                <a:r>
                  <a:rPr kumimoji="0" lang="de-DE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OZG</a:t>
                </a: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endParaRPr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7086EFEC-805E-4C40-AE5F-4454C8288F9F}"/>
                  </a:ext>
                </a:extLst>
              </p:cNvPr>
              <p:cNvSpPr/>
              <p:nvPr/>
            </p:nvSpPr>
            <p:spPr>
              <a:xfrm>
                <a:off x="1388665" y="5095729"/>
                <a:ext cx="10106535" cy="854194"/>
              </a:xfrm>
              <a:custGeom>
                <a:avLst/>
                <a:gdLst>
                  <a:gd name="connsiteX0" fmla="*/ 134732 w 808375"/>
                  <a:gd name="connsiteY0" fmla="*/ 0 h 10106534"/>
                  <a:gd name="connsiteX1" fmla="*/ 673643 w 808375"/>
                  <a:gd name="connsiteY1" fmla="*/ 0 h 10106534"/>
                  <a:gd name="connsiteX2" fmla="*/ 808375 w 808375"/>
                  <a:gd name="connsiteY2" fmla="*/ 134732 h 10106534"/>
                  <a:gd name="connsiteX3" fmla="*/ 808375 w 808375"/>
                  <a:gd name="connsiteY3" fmla="*/ 10106534 h 10106534"/>
                  <a:gd name="connsiteX4" fmla="*/ 808375 w 808375"/>
                  <a:gd name="connsiteY4" fmla="*/ 10106534 h 10106534"/>
                  <a:gd name="connsiteX5" fmla="*/ 0 w 808375"/>
                  <a:gd name="connsiteY5" fmla="*/ 10106534 h 10106534"/>
                  <a:gd name="connsiteX6" fmla="*/ 0 w 808375"/>
                  <a:gd name="connsiteY6" fmla="*/ 10106534 h 10106534"/>
                  <a:gd name="connsiteX7" fmla="*/ 0 w 808375"/>
                  <a:gd name="connsiteY7" fmla="*/ 134732 h 10106534"/>
                  <a:gd name="connsiteX8" fmla="*/ 134732 w 808375"/>
                  <a:gd name="connsiteY8" fmla="*/ 0 h 1010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8375" h="10106534">
                    <a:moveTo>
                      <a:pt x="808375" y="1684462"/>
                    </a:moveTo>
                    <a:lnTo>
                      <a:pt x="808375" y="8422072"/>
                    </a:lnTo>
                    <a:cubicBezTo>
                      <a:pt x="808375" y="9352366"/>
                      <a:pt x="803550" y="10106528"/>
                      <a:pt x="797598" y="10106528"/>
                    </a:cubicBezTo>
                    <a:lnTo>
                      <a:pt x="0" y="10106528"/>
                    </a:lnTo>
                    <a:lnTo>
                      <a:pt x="0" y="1010652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797598" y="6"/>
                    </a:lnTo>
                    <a:cubicBezTo>
                      <a:pt x="803550" y="6"/>
                      <a:pt x="808375" y="754168"/>
                      <a:pt x="808375" y="1684462"/>
                    </a:cubicBezTo>
                    <a:close/>
                  </a:path>
                </a:pathLst>
              </a:custGeom>
              <a:solidFill>
                <a:srgbClr val="F4F2E7">
                  <a:alpha val="90000"/>
                </a:srgbClr>
              </a:solidFill>
              <a:ln w="25400" cap="flat" cmpd="sng" algn="ctr">
                <a:solidFill>
                  <a:schemeClr val="accent3"/>
                </a:solidFill>
                <a:prstDash val="solid"/>
              </a:ln>
              <a:effectLst/>
            </p:spPr>
            <p:txBody>
              <a:bodyPr spcFirstLastPara="0" vert="horz" wrap="square" lIns="113792" tIns="51858" rIns="51858" bIns="51858" numCol="1" spcCol="1270" anchor="ctr" anchorCtr="0">
                <a:noAutofit/>
              </a:bodyPr>
              <a:lstStyle/>
              <a:p>
                <a:pPr marL="171450" marR="0" lvl="1" indent="-171450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</a:rPr>
                  <a:t>Verknüpfung von OZG-/EfA-Umsetzung mit dem Ziel medienbruchfreier Nachweisdatenabrufe aus Registern 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 </a:t>
                </a:r>
                <a:r>
                  <a:rPr kumimoji="0" lang="de-DE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SDG VO EU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 – Umsetzungsfrist: 12.12.2023 – MWIKE NRW entwickelt IP/Access-Point für „D“; </a:t>
                </a:r>
              </a:p>
              <a:p>
                <a:pPr marL="171450" marR="0" lvl="1" indent="-171450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 </a:t>
                </a:r>
                <a:r>
                  <a:rPr kumimoji="0" lang="de-DE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national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5253A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BundesSans Office"/>
                    <a:ea typeface="ＭＳ Ｐゴシック"/>
                    <a:cs typeface="+mn-cs"/>
                    <a:sym typeface="Wingdings" panose="05000000000000000000" pitchFamily="2" charset="2"/>
                  </a:rPr>
                  <a:t>: OZG-Reifegrad 4   Fokus i.R. von NRW-Erprobungsprojekten in 2024 und 2025ff.</a:t>
                </a: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endParaRPr>
              </a:p>
            </p:txBody>
          </p:sp>
        </p:grpSp>
      </p:grpSp>
      <p:pic>
        <p:nvPicPr>
          <p:cNvPr id="35" name="Grafik 34">
            <a:extLst>
              <a:ext uri="{FF2B5EF4-FFF2-40B4-BE49-F238E27FC236}">
                <a16:creationId xmlns:a16="http://schemas.microsoft.com/office/drawing/2014/main" id="{1F5BC559-6E82-42CB-8A19-EB3450370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01" y="6425372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338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BB2814-2F3B-4469-89FE-7F67EEDFB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503" y="586762"/>
            <a:ext cx="11731624" cy="536397"/>
          </a:xfrm>
        </p:spPr>
        <p:txBody>
          <a:bodyPr/>
          <a:lstStyle/>
          <a:p>
            <a:r>
              <a:rPr lang="de-DE" dirty="0">
                <a:latin typeface="+mn-lt"/>
                <a:sym typeface="+mn-lt"/>
              </a:rPr>
              <a:t>Aktueller Status der Vertragszeichnungen</a:t>
            </a:r>
            <a:endParaRPr lang="de-DE" dirty="0">
              <a:latin typeface="+mn-lt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E5FD169-156D-4693-A065-93E5203DA704}"/>
              </a:ext>
            </a:extLst>
          </p:cNvPr>
          <p:cNvGrpSpPr/>
          <p:nvPr/>
        </p:nvGrpSpPr>
        <p:grpSpPr>
          <a:xfrm>
            <a:off x="489646" y="1451254"/>
            <a:ext cx="10867560" cy="4721368"/>
            <a:chOff x="1381846" y="1753688"/>
            <a:chExt cx="9428309" cy="3795414"/>
          </a:xfrm>
        </p:grpSpPr>
        <p:grpSp>
          <p:nvGrpSpPr>
            <p:cNvPr id="5" name="object 25">
              <a:extLst>
                <a:ext uri="{FF2B5EF4-FFF2-40B4-BE49-F238E27FC236}">
                  <a16:creationId xmlns:a16="http://schemas.microsoft.com/office/drawing/2014/main" id="{354F10E7-F3B7-4346-9617-5BFE3EF768A3}"/>
                </a:ext>
              </a:extLst>
            </p:cNvPr>
            <p:cNvGrpSpPr/>
            <p:nvPr/>
          </p:nvGrpSpPr>
          <p:grpSpPr>
            <a:xfrm>
              <a:off x="1381846" y="1999078"/>
              <a:ext cx="9428309" cy="3550024"/>
              <a:chOff x="152400" y="2202688"/>
              <a:chExt cx="10388600" cy="3911600"/>
            </a:xfrm>
          </p:grpSpPr>
          <p:sp>
            <p:nvSpPr>
              <p:cNvPr id="152" name="object 26">
                <a:extLst>
                  <a:ext uri="{FF2B5EF4-FFF2-40B4-BE49-F238E27FC236}">
                    <a16:creationId xmlns:a16="http://schemas.microsoft.com/office/drawing/2014/main" id="{6EE49721-87FE-47F3-9F8D-1255AF3E5D9F}"/>
                  </a:ext>
                </a:extLst>
              </p:cNvPr>
              <p:cNvSpPr/>
              <p:nvPr/>
            </p:nvSpPr>
            <p:spPr>
              <a:xfrm>
                <a:off x="152400" y="2202688"/>
                <a:ext cx="10388600" cy="3911600"/>
              </a:xfrm>
              <a:custGeom>
                <a:avLst/>
                <a:gdLst/>
                <a:ahLst/>
                <a:cxnLst/>
                <a:rect l="l" t="t" r="r" b="b"/>
                <a:pathLst>
                  <a:path w="10388600" h="3911600">
                    <a:moveTo>
                      <a:pt x="0" y="3911142"/>
                    </a:moveTo>
                    <a:lnTo>
                      <a:pt x="10388600" y="3911142"/>
                    </a:lnTo>
                    <a:lnTo>
                      <a:pt x="10388600" y="0"/>
                    </a:lnTo>
                    <a:lnTo>
                      <a:pt x="0" y="0"/>
                    </a:lnTo>
                    <a:lnTo>
                      <a:pt x="0" y="3911142"/>
                    </a:lnTo>
                    <a:close/>
                  </a:path>
                </a:pathLst>
              </a:custGeom>
              <a:solidFill>
                <a:srgbClr val="F4F2E7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53" name="object 27">
                <a:extLst>
                  <a:ext uri="{FF2B5EF4-FFF2-40B4-BE49-F238E27FC236}">
                    <a16:creationId xmlns:a16="http://schemas.microsoft.com/office/drawing/2014/main" id="{0C263F3F-1145-4C90-A3D8-CF00658A22FE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819912" y="3054604"/>
                <a:ext cx="771144" cy="374903"/>
              </a:xfrm>
              <a:prstGeom prst="rect">
                <a:avLst/>
              </a:prstGeom>
            </p:spPr>
          </p:pic>
          <p:sp>
            <p:nvSpPr>
              <p:cNvPr id="154" name="object 28">
                <a:extLst>
                  <a:ext uri="{FF2B5EF4-FFF2-40B4-BE49-F238E27FC236}">
                    <a16:creationId xmlns:a16="http://schemas.microsoft.com/office/drawing/2014/main" id="{70133660-F871-4675-9BCA-03540A41F503}"/>
                  </a:ext>
                </a:extLst>
              </p:cNvPr>
              <p:cNvSpPr/>
              <p:nvPr/>
            </p:nvSpPr>
            <p:spPr>
              <a:xfrm>
                <a:off x="887003" y="3075787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38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8" y="284645"/>
                    </a:lnTo>
                    <a:lnTo>
                      <a:pt x="683338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6" name="object 30">
              <a:extLst>
                <a:ext uri="{FF2B5EF4-FFF2-40B4-BE49-F238E27FC236}">
                  <a16:creationId xmlns:a16="http://schemas.microsoft.com/office/drawing/2014/main" id="{AE865AF1-DD4B-4E04-8B37-BA9CA8EDD841}"/>
                </a:ext>
              </a:extLst>
            </p:cNvPr>
            <p:cNvSpPr txBox="1"/>
            <p:nvPr/>
          </p:nvSpPr>
          <p:spPr>
            <a:xfrm>
              <a:off x="2048544" y="2791471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45219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BY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7" name="object 31">
              <a:extLst>
                <a:ext uri="{FF2B5EF4-FFF2-40B4-BE49-F238E27FC236}">
                  <a16:creationId xmlns:a16="http://schemas.microsoft.com/office/drawing/2014/main" id="{54801CCB-145A-4388-9C53-A11367C18A76}"/>
                </a:ext>
              </a:extLst>
            </p:cNvPr>
            <p:cNvGrpSpPr/>
            <p:nvPr/>
          </p:nvGrpSpPr>
          <p:grpSpPr>
            <a:xfrm>
              <a:off x="1987654" y="2371139"/>
              <a:ext cx="3646266" cy="703089"/>
              <a:chOff x="819911" y="2612644"/>
              <a:chExt cx="4017645" cy="774700"/>
            </a:xfrm>
          </p:grpSpPr>
          <p:pic>
            <p:nvPicPr>
              <p:cNvPr id="146" name="object 32">
                <a:extLst>
                  <a:ext uri="{FF2B5EF4-FFF2-40B4-BE49-F238E27FC236}">
                    <a16:creationId xmlns:a16="http://schemas.microsoft.com/office/drawing/2014/main" id="{609E751B-59EC-4A56-83CD-53715DD4CB1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984157" y="3118142"/>
                <a:ext cx="193895" cy="210845"/>
              </a:xfrm>
              <a:prstGeom prst="rect">
                <a:avLst/>
              </a:prstGeom>
            </p:spPr>
          </p:pic>
          <p:pic>
            <p:nvPicPr>
              <p:cNvPr id="147" name="object 33">
                <a:extLst>
                  <a:ext uri="{FF2B5EF4-FFF2-40B4-BE49-F238E27FC236}">
                    <a16:creationId xmlns:a16="http://schemas.microsoft.com/office/drawing/2014/main" id="{1227F9BC-2CD1-4723-B32D-5BE8F79C36D0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60575" y="3094227"/>
                <a:ext cx="3276600" cy="292608"/>
              </a:xfrm>
              <a:prstGeom prst="rect">
                <a:avLst/>
              </a:prstGeom>
            </p:spPr>
          </p:pic>
          <p:sp>
            <p:nvSpPr>
              <p:cNvPr id="148" name="object 34">
                <a:extLst>
                  <a:ext uri="{FF2B5EF4-FFF2-40B4-BE49-F238E27FC236}">
                    <a16:creationId xmlns:a16="http://schemas.microsoft.com/office/drawing/2014/main" id="{8FCC149C-F690-4632-9E0D-0D28D4D045DE}"/>
                  </a:ext>
                </a:extLst>
              </p:cNvPr>
              <p:cNvSpPr/>
              <p:nvPr/>
            </p:nvSpPr>
            <p:spPr>
              <a:xfrm>
                <a:off x="1627212" y="3114700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5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55" y="205803"/>
                    </a:lnTo>
                    <a:lnTo>
                      <a:pt x="854189" y="102908"/>
                    </a:lnTo>
                    <a:close/>
                  </a:path>
                  <a:path w="1632585" h="206375">
                    <a:moveTo>
                      <a:pt x="1632381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03"/>
                    </a:lnTo>
                    <a:lnTo>
                      <a:pt x="1529461" y="205803"/>
                    </a:lnTo>
                    <a:lnTo>
                      <a:pt x="1632381" y="102908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149" name="object 35">
                <a:extLst>
                  <a:ext uri="{FF2B5EF4-FFF2-40B4-BE49-F238E27FC236}">
                    <a16:creationId xmlns:a16="http://schemas.microsoft.com/office/drawing/2014/main" id="{7CC853FB-A25D-44D8-B38A-391A4628A88E}"/>
                  </a:ext>
                </a:extLst>
              </p:cNvPr>
              <p:cNvSpPr/>
              <p:nvPr/>
            </p:nvSpPr>
            <p:spPr>
              <a:xfrm>
                <a:off x="3183636" y="3114700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5" h="206375">
                    <a:moveTo>
                      <a:pt x="854176" y="102908"/>
                    </a:moveTo>
                    <a:lnTo>
                      <a:pt x="751243" y="0"/>
                    </a:lnTo>
                    <a:lnTo>
                      <a:pt x="0" y="0"/>
                    </a:lnTo>
                    <a:lnTo>
                      <a:pt x="102933" y="102908"/>
                    </a:lnTo>
                    <a:lnTo>
                      <a:pt x="0" y="205803"/>
                    </a:lnTo>
                    <a:lnTo>
                      <a:pt x="751243" y="205803"/>
                    </a:lnTo>
                    <a:lnTo>
                      <a:pt x="854176" y="102908"/>
                    </a:lnTo>
                    <a:close/>
                  </a:path>
                  <a:path w="1632585" h="206375">
                    <a:moveTo>
                      <a:pt x="1632381" y="0"/>
                    </a:moveTo>
                    <a:lnTo>
                      <a:pt x="1417726" y="0"/>
                    </a:lnTo>
                    <a:lnTo>
                      <a:pt x="778205" y="0"/>
                    </a:lnTo>
                    <a:lnTo>
                      <a:pt x="880706" y="102476"/>
                    </a:lnTo>
                    <a:lnTo>
                      <a:pt x="778205" y="204939"/>
                    </a:lnTo>
                    <a:lnTo>
                      <a:pt x="1632381" y="204939"/>
                    </a:lnTo>
                    <a:lnTo>
                      <a:pt x="1632381" y="0"/>
                    </a:lnTo>
                    <a:close/>
                  </a:path>
                </a:pathLst>
              </a:custGeom>
              <a:solidFill>
                <a:srgbClr val="A6A6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50" name="object 36">
                <a:extLst>
                  <a:ext uri="{FF2B5EF4-FFF2-40B4-BE49-F238E27FC236}">
                    <a16:creationId xmlns:a16="http://schemas.microsoft.com/office/drawing/2014/main" id="{0E5289E4-A542-418D-902E-FFD0DD36AD06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819911" y="2612644"/>
                <a:ext cx="771144" cy="374903"/>
              </a:xfrm>
              <a:prstGeom prst="rect">
                <a:avLst/>
              </a:prstGeom>
            </p:spPr>
          </p:pic>
          <p:sp>
            <p:nvSpPr>
              <p:cNvPr id="151" name="object 37">
                <a:extLst>
                  <a:ext uri="{FF2B5EF4-FFF2-40B4-BE49-F238E27FC236}">
                    <a16:creationId xmlns:a16="http://schemas.microsoft.com/office/drawing/2014/main" id="{4B15DB41-FEFF-4CD7-9736-E96481237ED8}"/>
                  </a:ext>
                </a:extLst>
              </p:cNvPr>
              <p:cNvSpPr/>
              <p:nvPr/>
            </p:nvSpPr>
            <p:spPr>
              <a:xfrm>
                <a:off x="887003" y="2633713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38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8" y="284645"/>
                    </a:lnTo>
                    <a:lnTo>
                      <a:pt x="683338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8" name="object 38">
              <a:extLst>
                <a:ext uri="{FF2B5EF4-FFF2-40B4-BE49-F238E27FC236}">
                  <a16:creationId xmlns:a16="http://schemas.microsoft.com/office/drawing/2014/main" id="{C001C49A-538D-4C51-9401-BDAE96FF72A5}"/>
                </a:ext>
              </a:extLst>
            </p:cNvPr>
            <p:cNvSpPr txBox="1"/>
            <p:nvPr/>
          </p:nvSpPr>
          <p:spPr>
            <a:xfrm>
              <a:off x="2048544" y="2390261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07182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BW</a:t>
              </a:r>
              <a:endParaRPr kumimoji="0" sz="817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9" name="object 39">
              <a:extLst>
                <a:ext uri="{FF2B5EF4-FFF2-40B4-BE49-F238E27FC236}">
                  <a16:creationId xmlns:a16="http://schemas.microsoft.com/office/drawing/2014/main" id="{74FD9C78-4F48-4817-A09F-DE997B69088C}"/>
                </a:ext>
              </a:extLst>
            </p:cNvPr>
            <p:cNvGrpSpPr/>
            <p:nvPr/>
          </p:nvGrpSpPr>
          <p:grpSpPr>
            <a:xfrm>
              <a:off x="1987654" y="2407099"/>
              <a:ext cx="3646266" cy="1106501"/>
              <a:chOff x="819911" y="2652267"/>
              <a:chExt cx="4017645" cy="1219200"/>
            </a:xfrm>
          </p:grpSpPr>
          <p:pic>
            <p:nvPicPr>
              <p:cNvPr id="141" name="object 40">
                <a:extLst>
                  <a:ext uri="{FF2B5EF4-FFF2-40B4-BE49-F238E27FC236}">
                    <a16:creationId xmlns:a16="http://schemas.microsoft.com/office/drawing/2014/main" id="{7289D28A-8A68-4190-8D6C-03A692A12D67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982652" y="2676062"/>
                <a:ext cx="193895" cy="210850"/>
              </a:xfrm>
              <a:prstGeom prst="rect">
                <a:avLst/>
              </a:prstGeom>
            </p:spPr>
          </p:pic>
          <p:pic>
            <p:nvPicPr>
              <p:cNvPr id="142" name="object 41">
                <a:extLst>
                  <a:ext uri="{FF2B5EF4-FFF2-40B4-BE49-F238E27FC236}">
                    <a16:creationId xmlns:a16="http://schemas.microsoft.com/office/drawing/2014/main" id="{9A8F95A5-786B-4105-88CB-E6B2924EF20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0575" y="2652267"/>
                <a:ext cx="3276600" cy="295655"/>
              </a:xfrm>
              <a:prstGeom prst="rect">
                <a:avLst/>
              </a:prstGeom>
            </p:spPr>
          </p:pic>
          <p:sp>
            <p:nvSpPr>
              <p:cNvPr id="143" name="object 42">
                <a:extLst>
                  <a:ext uri="{FF2B5EF4-FFF2-40B4-BE49-F238E27FC236}">
                    <a16:creationId xmlns:a16="http://schemas.microsoft.com/office/drawing/2014/main" id="{C8F2647C-320D-4B58-8FCA-12A7C6D286F1}"/>
                  </a:ext>
                </a:extLst>
              </p:cNvPr>
              <p:cNvSpPr/>
              <p:nvPr/>
            </p:nvSpPr>
            <p:spPr>
              <a:xfrm>
                <a:off x="1627212" y="2673121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81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81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16"/>
                    </a:lnTo>
                    <a:lnTo>
                      <a:pt x="2307666" y="205816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863"/>
                    </a:moveTo>
                    <a:lnTo>
                      <a:pt x="2974149" y="876"/>
                    </a:lnTo>
                    <a:lnTo>
                      <a:pt x="2334628" y="876"/>
                    </a:lnTo>
                    <a:lnTo>
                      <a:pt x="2437130" y="103339"/>
                    </a:lnTo>
                    <a:lnTo>
                      <a:pt x="2334628" y="205816"/>
                    </a:lnTo>
                    <a:lnTo>
                      <a:pt x="3188805" y="205816"/>
                    </a:lnTo>
                    <a:lnTo>
                      <a:pt x="3188805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44" name="object 43">
                <a:extLst>
                  <a:ext uri="{FF2B5EF4-FFF2-40B4-BE49-F238E27FC236}">
                    <a16:creationId xmlns:a16="http://schemas.microsoft.com/office/drawing/2014/main" id="{BF04968C-52A3-4DB1-A298-39CDF34F7D69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19911" y="3496563"/>
                <a:ext cx="771144" cy="374903"/>
              </a:xfrm>
              <a:prstGeom prst="rect">
                <a:avLst/>
              </a:prstGeom>
            </p:spPr>
          </p:pic>
          <p:sp>
            <p:nvSpPr>
              <p:cNvPr id="145" name="object 44">
                <a:extLst>
                  <a:ext uri="{FF2B5EF4-FFF2-40B4-BE49-F238E27FC236}">
                    <a16:creationId xmlns:a16="http://schemas.microsoft.com/office/drawing/2014/main" id="{BFA46D4E-A234-49A1-8CAD-ACA3A9353C54}"/>
                  </a:ext>
                </a:extLst>
              </p:cNvPr>
              <p:cNvSpPr/>
              <p:nvPr/>
            </p:nvSpPr>
            <p:spPr>
              <a:xfrm>
                <a:off x="887003" y="3517861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38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8" y="284645"/>
                    </a:lnTo>
                    <a:lnTo>
                      <a:pt x="683338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10" name="object 45">
              <a:extLst>
                <a:ext uri="{FF2B5EF4-FFF2-40B4-BE49-F238E27FC236}">
                  <a16:creationId xmlns:a16="http://schemas.microsoft.com/office/drawing/2014/main" id="{842F333F-6657-4A1D-8C3A-8E7EC81F48BF}"/>
                </a:ext>
              </a:extLst>
            </p:cNvPr>
            <p:cNvSpPr txBox="1"/>
            <p:nvPr/>
          </p:nvSpPr>
          <p:spPr>
            <a:xfrm>
              <a:off x="2048544" y="3192682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49254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BE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11" name="object 46">
              <a:extLst>
                <a:ext uri="{FF2B5EF4-FFF2-40B4-BE49-F238E27FC236}">
                  <a16:creationId xmlns:a16="http://schemas.microsoft.com/office/drawing/2014/main" id="{774BA3FF-EFFA-4B1B-B8EC-DDD94061B228}"/>
                </a:ext>
              </a:extLst>
            </p:cNvPr>
            <p:cNvGrpSpPr/>
            <p:nvPr/>
          </p:nvGrpSpPr>
          <p:grpSpPr>
            <a:xfrm>
              <a:off x="1987654" y="3206548"/>
              <a:ext cx="3646266" cy="708276"/>
              <a:chOff x="819911" y="3533140"/>
              <a:chExt cx="4017645" cy="780415"/>
            </a:xfrm>
          </p:grpSpPr>
          <p:pic>
            <p:nvPicPr>
              <p:cNvPr id="136" name="object 47">
                <a:extLst>
                  <a:ext uri="{FF2B5EF4-FFF2-40B4-BE49-F238E27FC236}">
                    <a16:creationId xmlns:a16="http://schemas.microsoft.com/office/drawing/2014/main" id="{C5A0491F-8E80-4AF5-BCEA-2C8A46E3570A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991546" y="3560216"/>
                <a:ext cx="174979" cy="210845"/>
              </a:xfrm>
              <a:prstGeom prst="rect">
                <a:avLst/>
              </a:prstGeom>
            </p:spPr>
          </p:pic>
          <p:pic>
            <p:nvPicPr>
              <p:cNvPr id="137" name="object 48">
                <a:extLst>
                  <a:ext uri="{FF2B5EF4-FFF2-40B4-BE49-F238E27FC236}">
                    <a16:creationId xmlns:a16="http://schemas.microsoft.com/office/drawing/2014/main" id="{EB6E3D0F-34A4-465C-8C4A-7FDBBDEA0E4E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560575" y="3533140"/>
                <a:ext cx="3276600" cy="295655"/>
              </a:xfrm>
              <a:prstGeom prst="rect">
                <a:avLst/>
              </a:prstGeom>
            </p:spPr>
          </p:pic>
          <p:sp>
            <p:nvSpPr>
              <p:cNvPr id="138" name="object 49">
                <a:extLst>
                  <a:ext uri="{FF2B5EF4-FFF2-40B4-BE49-F238E27FC236}">
                    <a16:creationId xmlns:a16="http://schemas.microsoft.com/office/drawing/2014/main" id="{4D06FDF4-2E58-4FFD-A13A-B98608E978FA}"/>
                  </a:ext>
                </a:extLst>
              </p:cNvPr>
              <p:cNvSpPr/>
              <p:nvPr/>
            </p:nvSpPr>
            <p:spPr>
              <a:xfrm>
                <a:off x="1627212" y="3556266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81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81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16"/>
                    </a:lnTo>
                    <a:lnTo>
                      <a:pt x="2307666" y="205816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863"/>
                    </a:moveTo>
                    <a:lnTo>
                      <a:pt x="2974149" y="863"/>
                    </a:lnTo>
                    <a:lnTo>
                      <a:pt x="2334628" y="863"/>
                    </a:lnTo>
                    <a:lnTo>
                      <a:pt x="2437130" y="103339"/>
                    </a:lnTo>
                    <a:lnTo>
                      <a:pt x="2334628" y="205816"/>
                    </a:lnTo>
                    <a:lnTo>
                      <a:pt x="3188805" y="205816"/>
                    </a:lnTo>
                    <a:lnTo>
                      <a:pt x="3188805" y="863"/>
                    </a:lnTo>
                    <a:close/>
                  </a:path>
                </a:pathLst>
              </a:custGeom>
              <a:solidFill>
                <a:srgbClr val="A6A6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39" name="object 50">
                <a:extLst>
                  <a:ext uri="{FF2B5EF4-FFF2-40B4-BE49-F238E27FC236}">
                    <a16:creationId xmlns:a16="http://schemas.microsoft.com/office/drawing/2014/main" id="{BF52C3F5-1452-4A29-9729-7CBB7BFF49EC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819911" y="3938524"/>
                <a:ext cx="771144" cy="374903"/>
              </a:xfrm>
              <a:prstGeom prst="rect">
                <a:avLst/>
              </a:prstGeom>
            </p:spPr>
          </p:pic>
          <p:sp>
            <p:nvSpPr>
              <p:cNvPr id="140" name="object 51">
                <a:extLst>
                  <a:ext uri="{FF2B5EF4-FFF2-40B4-BE49-F238E27FC236}">
                    <a16:creationId xmlns:a16="http://schemas.microsoft.com/office/drawing/2014/main" id="{1038A836-3049-4A23-B5B2-A4672989AEF3}"/>
                  </a:ext>
                </a:extLst>
              </p:cNvPr>
              <p:cNvSpPr/>
              <p:nvPr/>
            </p:nvSpPr>
            <p:spPr>
              <a:xfrm>
                <a:off x="887003" y="3959936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38" y="0"/>
                    </a:moveTo>
                    <a:lnTo>
                      <a:pt x="0" y="0"/>
                    </a:lnTo>
                    <a:lnTo>
                      <a:pt x="0" y="284657"/>
                    </a:lnTo>
                    <a:lnTo>
                      <a:pt x="683338" y="284657"/>
                    </a:lnTo>
                    <a:lnTo>
                      <a:pt x="683338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12" name="object 52">
              <a:extLst>
                <a:ext uri="{FF2B5EF4-FFF2-40B4-BE49-F238E27FC236}">
                  <a16:creationId xmlns:a16="http://schemas.microsoft.com/office/drawing/2014/main" id="{23C03CEB-98DC-40FA-B95C-1CFCB939666E}"/>
                </a:ext>
              </a:extLst>
            </p:cNvPr>
            <p:cNvSpPr txBox="1"/>
            <p:nvPr/>
          </p:nvSpPr>
          <p:spPr>
            <a:xfrm>
              <a:off x="2048544" y="3593892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41761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BB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13" name="object 53">
              <a:extLst>
                <a:ext uri="{FF2B5EF4-FFF2-40B4-BE49-F238E27FC236}">
                  <a16:creationId xmlns:a16="http://schemas.microsoft.com/office/drawing/2014/main" id="{2EC877FA-AB93-4C35-A9F6-852C10B4EC4D}"/>
                </a:ext>
              </a:extLst>
            </p:cNvPr>
            <p:cNvGrpSpPr/>
            <p:nvPr/>
          </p:nvGrpSpPr>
          <p:grpSpPr>
            <a:xfrm>
              <a:off x="1987654" y="3607654"/>
              <a:ext cx="3646266" cy="708276"/>
              <a:chOff x="819911" y="3975100"/>
              <a:chExt cx="4017645" cy="780415"/>
            </a:xfrm>
          </p:grpSpPr>
          <p:pic>
            <p:nvPicPr>
              <p:cNvPr id="130" name="object 54">
                <a:extLst>
                  <a:ext uri="{FF2B5EF4-FFF2-40B4-BE49-F238E27FC236}">
                    <a16:creationId xmlns:a16="http://schemas.microsoft.com/office/drawing/2014/main" id="{0DD08E62-9CB4-4D72-AE09-2F7C55D22880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978352" y="4002290"/>
                <a:ext cx="210522" cy="210845"/>
              </a:xfrm>
              <a:prstGeom prst="rect">
                <a:avLst/>
              </a:prstGeom>
            </p:spPr>
          </p:pic>
          <p:pic>
            <p:nvPicPr>
              <p:cNvPr id="131" name="object 55">
                <a:extLst>
                  <a:ext uri="{FF2B5EF4-FFF2-40B4-BE49-F238E27FC236}">
                    <a16:creationId xmlns:a16="http://schemas.microsoft.com/office/drawing/2014/main" id="{7EE2E32A-F136-457D-96A7-14F827412E0E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560575" y="3975100"/>
                <a:ext cx="3276600" cy="295655"/>
              </a:xfrm>
              <a:prstGeom prst="rect">
                <a:avLst/>
              </a:prstGeom>
            </p:spPr>
          </p:pic>
          <p:sp>
            <p:nvSpPr>
              <p:cNvPr id="132" name="object 56">
                <a:extLst>
                  <a:ext uri="{FF2B5EF4-FFF2-40B4-BE49-F238E27FC236}">
                    <a16:creationId xmlns:a16="http://schemas.microsoft.com/office/drawing/2014/main" id="{81786CCE-47F3-4A32-AF66-B86EB5D6CF37}"/>
                  </a:ext>
                </a:extLst>
              </p:cNvPr>
              <p:cNvSpPr/>
              <p:nvPr/>
            </p:nvSpPr>
            <p:spPr>
              <a:xfrm>
                <a:off x="1627212" y="3997845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5" h="206375">
                    <a:moveTo>
                      <a:pt x="854189" y="102895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55" y="205803"/>
                    </a:lnTo>
                    <a:lnTo>
                      <a:pt x="854189" y="102895"/>
                    </a:lnTo>
                    <a:close/>
                  </a:path>
                  <a:path w="1632585" h="206375">
                    <a:moveTo>
                      <a:pt x="1632381" y="102895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895"/>
                    </a:lnTo>
                    <a:lnTo>
                      <a:pt x="778217" y="205803"/>
                    </a:lnTo>
                    <a:lnTo>
                      <a:pt x="1529461" y="205803"/>
                    </a:lnTo>
                    <a:lnTo>
                      <a:pt x="1632381" y="102895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133" name="object 57">
                <a:extLst>
                  <a:ext uri="{FF2B5EF4-FFF2-40B4-BE49-F238E27FC236}">
                    <a16:creationId xmlns:a16="http://schemas.microsoft.com/office/drawing/2014/main" id="{CA0A2723-675C-4607-B02A-F709DC2D43E1}"/>
                  </a:ext>
                </a:extLst>
              </p:cNvPr>
              <p:cNvSpPr/>
              <p:nvPr/>
            </p:nvSpPr>
            <p:spPr>
              <a:xfrm>
                <a:off x="3183636" y="3997845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5" h="206375">
                    <a:moveTo>
                      <a:pt x="854176" y="102895"/>
                    </a:moveTo>
                    <a:lnTo>
                      <a:pt x="751243" y="0"/>
                    </a:lnTo>
                    <a:lnTo>
                      <a:pt x="0" y="0"/>
                    </a:lnTo>
                    <a:lnTo>
                      <a:pt x="102933" y="102895"/>
                    </a:lnTo>
                    <a:lnTo>
                      <a:pt x="0" y="205803"/>
                    </a:lnTo>
                    <a:lnTo>
                      <a:pt x="751243" y="205803"/>
                    </a:lnTo>
                    <a:lnTo>
                      <a:pt x="854176" y="102895"/>
                    </a:lnTo>
                    <a:close/>
                  </a:path>
                  <a:path w="1632585" h="206375">
                    <a:moveTo>
                      <a:pt x="1632381" y="850"/>
                    </a:moveTo>
                    <a:lnTo>
                      <a:pt x="1417726" y="863"/>
                    </a:lnTo>
                    <a:lnTo>
                      <a:pt x="778205" y="863"/>
                    </a:lnTo>
                    <a:lnTo>
                      <a:pt x="880706" y="103327"/>
                    </a:lnTo>
                    <a:lnTo>
                      <a:pt x="778205" y="205803"/>
                    </a:lnTo>
                    <a:lnTo>
                      <a:pt x="1632381" y="205803"/>
                    </a:lnTo>
                    <a:lnTo>
                      <a:pt x="1632381" y="850"/>
                    </a:lnTo>
                    <a:close/>
                  </a:path>
                </a:pathLst>
              </a:custGeom>
              <a:solidFill>
                <a:srgbClr val="A6A6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34" name="object 58">
                <a:extLst>
                  <a:ext uri="{FF2B5EF4-FFF2-40B4-BE49-F238E27FC236}">
                    <a16:creationId xmlns:a16="http://schemas.microsoft.com/office/drawing/2014/main" id="{94CB53F3-B3A2-40BB-8EF3-5547BC579653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819911" y="4380484"/>
                <a:ext cx="771144" cy="374904"/>
              </a:xfrm>
              <a:prstGeom prst="rect">
                <a:avLst/>
              </a:prstGeom>
            </p:spPr>
          </p:pic>
          <p:sp>
            <p:nvSpPr>
              <p:cNvPr id="135" name="object 59">
                <a:extLst>
                  <a:ext uri="{FF2B5EF4-FFF2-40B4-BE49-F238E27FC236}">
                    <a16:creationId xmlns:a16="http://schemas.microsoft.com/office/drawing/2014/main" id="{CE356621-9352-45C4-B8E1-D8B39B211006}"/>
                  </a:ext>
                </a:extLst>
              </p:cNvPr>
              <p:cNvSpPr/>
              <p:nvPr/>
            </p:nvSpPr>
            <p:spPr>
              <a:xfrm>
                <a:off x="886884" y="4402023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43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43" y="284645"/>
                    </a:lnTo>
                    <a:lnTo>
                      <a:pt x="683343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14" name="object 60">
              <a:extLst>
                <a:ext uri="{FF2B5EF4-FFF2-40B4-BE49-F238E27FC236}">
                  <a16:creationId xmlns:a16="http://schemas.microsoft.com/office/drawing/2014/main" id="{8DFE5D47-98F2-4B96-85C4-609429C9028C}"/>
                </a:ext>
              </a:extLst>
            </p:cNvPr>
            <p:cNvSpPr txBox="1"/>
            <p:nvPr/>
          </p:nvSpPr>
          <p:spPr>
            <a:xfrm>
              <a:off x="2048436" y="3995114"/>
              <a:ext cx="620678" cy="185678"/>
            </a:xfrm>
            <a:prstGeom prst="rect">
              <a:avLst/>
            </a:prstGeom>
          </p:spPr>
          <p:txBody>
            <a:bodyPr vert="horz" wrap="square" lIns="0" tIns="59358" rIns="0" bIns="0" rtlCol="0">
              <a:spAutoFit/>
            </a:bodyPr>
            <a:lstStyle/>
            <a:p>
              <a:pPr marL="335422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HB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15" name="object 61">
              <a:extLst>
                <a:ext uri="{FF2B5EF4-FFF2-40B4-BE49-F238E27FC236}">
                  <a16:creationId xmlns:a16="http://schemas.microsoft.com/office/drawing/2014/main" id="{1200D0E7-1FC3-4480-B89B-20A9D51B0987}"/>
                </a:ext>
              </a:extLst>
            </p:cNvPr>
            <p:cNvGrpSpPr/>
            <p:nvPr/>
          </p:nvGrpSpPr>
          <p:grpSpPr>
            <a:xfrm>
              <a:off x="1987653" y="4008760"/>
              <a:ext cx="3643385" cy="708276"/>
              <a:chOff x="819911" y="4417059"/>
              <a:chExt cx="4014470" cy="780415"/>
            </a:xfrm>
          </p:grpSpPr>
          <p:pic>
            <p:nvPicPr>
              <p:cNvPr id="125" name="object 62">
                <a:extLst>
                  <a:ext uri="{FF2B5EF4-FFF2-40B4-BE49-F238E27FC236}">
                    <a16:creationId xmlns:a16="http://schemas.microsoft.com/office/drawing/2014/main" id="{3B35B471-1C2A-4B60-88E9-AED5708FCD64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972557" y="4444364"/>
                <a:ext cx="201899" cy="210845"/>
              </a:xfrm>
              <a:prstGeom prst="rect">
                <a:avLst/>
              </a:prstGeom>
            </p:spPr>
          </p:pic>
          <p:pic>
            <p:nvPicPr>
              <p:cNvPr id="126" name="object 63">
                <a:extLst>
                  <a:ext uri="{FF2B5EF4-FFF2-40B4-BE49-F238E27FC236}">
                    <a16:creationId xmlns:a16="http://schemas.microsoft.com/office/drawing/2014/main" id="{77BA91FE-2483-4008-86EF-F46BB07CA0AB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1560575" y="4417059"/>
                <a:ext cx="3273552" cy="295656"/>
              </a:xfrm>
              <a:prstGeom prst="rect">
                <a:avLst/>
              </a:prstGeom>
            </p:spPr>
          </p:pic>
          <p:sp>
            <p:nvSpPr>
              <p:cNvPr id="127" name="object 64">
                <a:extLst>
                  <a:ext uri="{FF2B5EF4-FFF2-40B4-BE49-F238E27FC236}">
                    <a16:creationId xmlns:a16="http://schemas.microsoft.com/office/drawing/2014/main" id="{4D2A81D8-DB25-451C-84A0-B309AC783BAD}"/>
                  </a:ext>
                </a:extLst>
              </p:cNvPr>
              <p:cNvSpPr/>
              <p:nvPr/>
            </p:nvSpPr>
            <p:spPr>
              <a:xfrm>
                <a:off x="1627111" y="4439411"/>
                <a:ext cx="318579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5795" h="206375">
                    <a:moveTo>
                      <a:pt x="854176" y="102895"/>
                    </a:moveTo>
                    <a:lnTo>
                      <a:pt x="751230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30" y="205803"/>
                    </a:lnTo>
                    <a:lnTo>
                      <a:pt x="854176" y="102895"/>
                    </a:lnTo>
                    <a:close/>
                  </a:path>
                  <a:path w="3185795" h="206375">
                    <a:moveTo>
                      <a:pt x="1632381" y="102895"/>
                    </a:moveTo>
                    <a:lnTo>
                      <a:pt x="1529448" y="0"/>
                    </a:lnTo>
                    <a:lnTo>
                      <a:pt x="778205" y="0"/>
                    </a:lnTo>
                    <a:lnTo>
                      <a:pt x="881138" y="102895"/>
                    </a:lnTo>
                    <a:lnTo>
                      <a:pt x="778205" y="205803"/>
                    </a:lnTo>
                    <a:lnTo>
                      <a:pt x="1529448" y="205803"/>
                    </a:lnTo>
                    <a:lnTo>
                      <a:pt x="1632381" y="102895"/>
                    </a:lnTo>
                    <a:close/>
                  </a:path>
                  <a:path w="3185795" h="206375">
                    <a:moveTo>
                      <a:pt x="2410587" y="102895"/>
                    </a:moveTo>
                    <a:lnTo>
                      <a:pt x="2307653" y="0"/>
                    </a:lnTo>
                    <a:lnTo>
                      <a:pt x="1556410" y="0"/>
                    </a:lnTo>
                    <a:lnTo>
                      <a:pt x="1659343" y="102895"/>
                    </a:lnTo>
                    <a:lnTo>
                      <a:pt x="1556410" y="205803"/>
                    </a:lnTo>
                    <a:lnTo>
                      <a:pt x="2307653" y="205803"/>
                    </a:lnTo>
                    <a:lnTo>
                      <a:pt x="2410587" y="102895"/>
                    </a:lnTo>
                    <a:close/>
                  </a:path>
                  <a:path w="3185795" h="206375">
                    <a:moveTo>
                      <a:pt x="3185706" y="863"/>
                    </a:moveTo>
                    <a:lnTo>
                      <a:pt x="2971050" y="863"/>
                    </a:lnTo>
                    <a:lnTo>
                      <a:pt x="2331529" y="863"/>
                    </a:lnTo>
                    <a:lnTo>
                      <a:pt x="2434031" y="103339"/>
                    </a:lnTo>
                    <a:lnTo>
                      <a:pt x="2331529" y="205803"/>
                    </a:lnTo>
                    <a:lnTo>
                      <a:pt x="3185706" y="205803"/>
                    </a:lnTo>
                    <a:lnTo>
                      <a:pt x="3185706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28" name="object 65">
                <a:extLst>
                  <a:ext uri="{FF2B5EF4-FFF2-40B4-BE49-F238E27FC236}">
                    <a16:creationId xmlns:a16="http://schemas.microsoft.com/office/drawing/2014/main" id="{9D82606F-681E-4F45-A3D8-BA06620C2901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819911" y="4822443"/>
                <a:ext cx="771144" cy="374904"/>
              </a:xfrm>
              <a:prstGeom prst="rect">
                <a:avLst/>
              </a:prstGeom>
            </p:spPr>
          </p:pic>
          <p:sp>
            <p:nvSpPr>
              <p:cNvPr id="129" name="object 66">
                <a:extLst>
                  <a:ext uri="{FF2B5EF4-FFF2-40B4-BE49-F238E27FC236}">
                    <a16:creationId xmlns:a16="http://schemas.microsoft.com/office/drawing/2014/main" id="{38C03605-601A-458C-A6E1-7561D9D673A7}"/>
                  </a:ext>
                </a:extLst>
              </p:cNvPr>
              <p:cNvSpPr/>
              <p:nvPr/>
            </p:nvSpPr>
            <p:spPr>
              <a:xfrm>
                <a:off x="886884" y="4844097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43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43" y="284645"/>
                    </a:lnTo>
                    <a:lnTo>
                      <a:pt x="683343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16" name="object 67">
              <a:extLst>
                <a:ext uri="{FF2B5EF4-FFF2-40B4-BE49-F238E27FC236}">
                  <a16:creationId xmlns:a16="http://schemas.microsoft.com/office/drawing/2014/main" id="{6165D243-B073-43E0-BFE1-32056583D049}"/>
                </a:ext>
              </a:extLst>
            </p:cNvPr>
            <p:cNvSpPr txBox="1"/>
            <p:nvPr/>
          </p:nvSpPr>
          <p:spPr>
            <a:xfrm>
              <a:off x="2048436" y="4396324"/>
              <a:ext cx="620678" cy="185096"/>
            </a:xfrm>
            <a:prstGeom prst="rect">
              <a:avLst/>
            </a:prstGeom>
          </p:spPr>
          <p:txBody>
            <a:bodyPr vert="horz" wrap="square" lIns="0" tIns="58782" rIns="0" bIns="0" rtlCol="0">
              <a:spAutoFit/>
            </a:bodyPr>
            <a:lstStyle/>
            <a:p>
              <a:pPr marL="329658" marR="0" lvl="0" indent="0" defTabSz="914400" eaLnBrk="1" fontAlgn="base" latinLnBrk="0" hangingPunct="1">
                <a:lnSpc>
                  <a:spcPct val="100000"/>
                </a:lnSpc>
                <a:spcBef>
                  <a:spcPts val="462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HH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17" name="object 68">
              <a:extLst>
                <a:ext uri="{FF2B5EF4-FFF2-40B4-BE49-F238E27FC236}">
                  <a16:creationId xmlns:a16="http://schemas.microsoft.com/office/drawing/2014/main" id="{A05AE59D-94AC-46A2-9B4D-602F447E1C4F}"/>
                </a:ext>
              </a:extLst>
            </p:cNvPr>
            <p:cNvGrpSpPr/>
            <p:nvPr/>
          </p:nvGrpSpPr>
          <p:grpSpPr>
            <a:xfrm>
              <a:off x="1987653" y="4409867"/>
              <a:ext cx="3643385" cy="708276"/>
              <a:chOff x="819911" y="4859020"/>
              <a:chExt cx="4014470" cy="780415"/>
            </a:xfrm>
          </p:grpSpPr>
          <p:pic>
            <p:nvPicPr>
              <p:cNvPr id="120" name="object 69">
                <a:extLst>
                  <a:ext uri="{FF2B5EF4-FFF2-40B4-BE49-F238E27FC236}">
                    <a16:creationId xmlns:a16="http://schemas.microsoft.com/office/drawing/2014/main" id="{7A0D6796-AF93-47C4-9D21-0DCD5B692C12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969900" y="4886446"/>
                <a:ext cx="191096" cy="210850"/>
              </a:xfrm>
              <a:prstGeom prst="rect">
                <a:avLst/>
              </a:prstGeom>
            </p:spPr>
          </p:pic>
          <p:pic>
            <p:nvPicPr>
              <p:cNvPr id="121" name="object 70">
                <a:extLst>
                  <a:ext uri="{FF2B5EF4-FFF2-40B4-BE49-F238E27FC236}">
                    <a16:creationId xmlns:a16="http://schemas.microsoft.com/office/drawing/2014/main" id="{B024C240-CBC5-4D8C-82BE-0A43DA4BF258}"/>
                  </a:ext>
                </a:extLst>
              </p:cNvPr>
              <p:cNvPicPr/>
              <p:nvPr/>
            </p:nvPicPr>
            <p:blipFill>
              <a:blip r:embed="rId19" cstate="print"/>
              <a:stretch>
                <a:fillRect/>
              </a:stretch>
            </p:blipFill>
            <p:spPr>
              <a:xfrm>
                <a:off x="1560575" y="4859020"/>
                <a:ext cx="3273552" cy="295656"/>
              </a:xfrm>
              <a:prstGeom prst="rect">
                <a:avLst/>
              </a:prstGeom>
            </p:spPr>
          </p:pic>
          <p:sp>
            <p:nvSpPr>
              <p:cNvPr id="122" name="object 71">
                <a:extLst>
                  <a:ext uri="{FF2B5EF4-FFF2-40B4-BE49-F238E27FC236}">
                    <a16:creationId xmlns:a16="http://schemas.microsoft.com/office/drawing/2014/main" id="{522487AD-3F69-4067-84D6-5E468CF1727D}"/>
                  </a:ext>
                </a:extLst>
              </p:cNvPr>
              <p:cNvSpPr/>
              <p:nvPr/>
            </p:nvSpPr>
            <p:spPr>
              <a:xfrm>
                <a:off x="1627111" y="4880978"/>
                <a:ext cx="318579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5795" h="206375">
                    <a:moveTo>
                      <a:pt x="854176" y="102908"/>
                    </a:moveTo>
                    <a:lnTo>
                      <a:pt x="751230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30" y="205816"/>
                    </a:lnTo>
                    <a:lnTo>
                      <a:pt x="854176" y="102908"/>
                    </a:lnTo>
                    <a:close/>
                  </a:path>
                  <a:path w="3185795" h="206375">
                    <a:moveTo>
                      <a:pt x="1632381" y="102908"/>
                    </a:moveTo>
                    <a:lnTo>
                      <a:pt x="1529448" y="0"/>
                    </a:lnTo>
                    <a:lnTo>
                      <a:pt x="778205" y="0"/>
                    </a:lnTo>
                    <a:lnTo>
                      <a:pt x="881138" y="102908"/>
                    </a:lnTo>
                    <a:lnTo>
                      <a:pt x="778205" y="205816"/>
                    </a:lnTo>
                    <a:lnTo>
                      <a:pt x="1529448" y="205816"/>
                    </a:lnTo>
                    <a:lnTo>
                      <a:pt x="1632381" y="102908"/>
                    </a:lnTo>
                    <a:close/>
                  </a:path>
                  <a:path w="3185795" h="206375">
                    <a:moveTo>
                      <a:pt x="2410587" y="102908"/>
                    </a:moveTo>
                    <a:lnTo>
                      <a:pt x="2307653" y="0"/>
                    </a:lnTo>
                    <a:lnTo>
                      <a:pt x="1556410" y="0"/>
                    </a:lnTo>
                    <a:lnTo>
                      <a:pt x="1659343" y="102908"/>
                    </a:lnTo>
                    <a:lnTo>
                      <a:pt x="1556410" y="205816"/>
                    </a:lnTo>
                    <a:lnTo>
                      <a:pt x="2307653" y="205816"/>
                    </a:lnTo>
                    <a:lnTo>
                      <a:pt x="2410587" y="102908"/>
                    </a:lnTo>
                    <a:close/>
                  </a:path>
                  <a:path w="3185795" h="206375">
                    <a:moveTo>
                      <a:pt x="3185706" y="863"/>
                    </a:moveTo>
                    <a:lnTo>
                      <a:pt x="2971050" y="863"/>
                    </a:lnTo>
                    <a:lnTo>
                      <a:pt x="2331529" y="863"/>
                    </a:lnTo>
                    <a:lnTo>
                      <a:pt x="2434031" y="103339"/>
                    </a:lnTo>
                    <a:lnTo>
                      <a:pt x="2331529" y="205816"/>
                    </a:lnTo>
                    <a:lnTo>
                      <a:pt x="3185706" y="205816"/>
                    </a:lnTo>
                    <a:lnTo>
                      <a:pt x="3185706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23" name="object 72">
                <a:extLst>
                  <a:ext uri="{FF2B5EF4-FFF2-40B4-BE49-F238E27FC236}">
                    <a16:creationId xmlns:a16="http://schemas.microsoft.com/office/drawing/2014/main" id="{7F54704B-06F2-4E6A-A64B-7A8A065ECF38}"/>
                  </a:ext>
                </a:extLst>
              </p:cNvPr>
              <p:cNvPicPr/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819911" y="5264404"/>
                <a:ext cx="771144" cy="374904"/>
              </a:xfrm>
              <a:prstGeom prst="rect">
                <a:avLst/>
              </a:prstGeom>
            </p:spPr>
          </p:pic>
          <p:sp>
            <p:nvSpPr>
              <p:cNvPr id="124" name="object 73">
                <a:extLst>
                  <a:ext uri="{FF2B5EF4-FFF2-40B4-BE49-F238E27FC236}">
                    <a16:creationId xmlns:a16="http://schemas.microsoft.com/office/drawing/2014/main" id="{2E925FA5-4529-4066-B50A-F02D5F190A98}"/>
                  </a:ext>
                </a:extLst>
              </p:cNvPr>
              <p:cNvSpPr/>
              <p:nvPr/>
            </p:nvSpPr>
            <p:spPr>
              <a:xfrm>
                <a:off x="886884" y="5286171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43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43" y="284645"/>
                    </a:lnTo>
                    <a:lnTo>
                      <a:pt x="683343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18" name="object 74">
              <a:extLst>
                <a:ext uri="{FF2B5EF4-FFF2-40B4-BE49-F238E27FC236}">
                  <a16:creationId xmlns:a16="http://schemas.microsoft.com/office/drawing/2014/main" id="{A6E44D2D-E510-4205-9BE8-946F16AF96D3}"/>
                </a:ext>
              </a:extLst>
            </p:cNvPr>
            <p:cNvSpPr txBox="1"/>
            <p:nvPr/>
          </p:nvSpPr>
          <p:spPr>
            <a:xfrm>
              <a:off x="2048436" y="4797534"/>
              <a:ext cx="620678" cy="185096"/>
            </a:xfrm>
            <a:prstGeom prst="rect">
              <a:avLst/>
            </a:prstGeom>
          </p:spPr>
          <p:txBody>
            <a:bodyPr vert="horz" wrap="square" lIns="0" tIns="58782" rIns="0" bIns="0" rtlCol="0">
              <a:spAutoFit/>
            </a:bodyPr>
            <a:lstStyle/>
            <a:p>
              <a:pPr marL="342914" marR="0" lvl="0" indent="0" defTabSz="914400" eaLnBrk="1" fontAlgn="base" latinLnBrk="0" hangingPunct="1">
                <a:lnSpc>
                  <a:spcPct val="100000"/>
                </a:lnSpc>
                <a:spcBef>
                  <a:spcPts val="462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HE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19" name="object 75">
              <a:extLst>
                <a:ext uri="{FF2B5EF4-FFF2-40B4-BE49-F238E27FC236}">
                  <a16:creationId xmlns:a16="http://schemas.microsoft.com/office/drawing/2014/main" id="{36680CA0-9E9E-4274-A245-B89F6283BB27}"/>
                </a:ext>
              </a:extLst>
            </p:cNvPr>
            <p:cNvGrpSpPr/>
            <p:nvPr/>
          </p:nvGrpSpPr>
          <p:grpSpPr>
            <a:xfrm>
              <a:off x="2109530" y="4376671"/>
              <a:ext cx="5070379" cy="705393"/>
              <a:chOff x="954200" y="4822444"/>
              <a:chExt cx="5586806" cy="777239"/>
            </a:xfrm>
          </p:grpSpPr>
          <p:pic>
            <p:nvPicPr>
              <p:cNvPr id="113" name="object 76">
                <a:extLst>
                  <a:ext uri="{FF2B5EF4-FFF2-40B4-BE49-F238E27FC236}">
                    <a16:creationId xmlns:a16="http://schemas.microsoft.com/office/drawing/2014/main" id="{FC46CD25-8E5D-49D1-8B38-7B05C4E1F211}"/>
                  </a:ext>
                </a:extLst>
              </p:cNvPr>
              <p:cNvPicPr/>
              <p:nvPr/>
            </p:nvPicPr>
            <p:blipFill>
              <a:blip r:embed="rId21" cstate="print"/>
              <a:stretch>
                <a:fillRect/>
              </a:stretch>
            </p:blipFill>
            <p:spPr>
              <a:xfrm>
                <a:off x="954200" y="5328521"/>
                <a:ext cx="206796" cy="210850"/>
              </a:xfrm>
              <a:prstGeom prst="rect">
                <a:avLst/>
              </a:prstGeom>
            </p:spPr>
          </p:pic>
          <p:pic>
            <p:nvPicPr>
              <p:cNvPr id="114" name="object 77">
                <a:extLst>
                  <a:ext uri="{FF2B5EF4-FFF2-40B4-BE49-F238E27FC236}">
                    <a16:creationId xmlns:a16="http://schemas.microsoft.com/office/drawing/2014/main" id="{8BF8F639-E720-4BEE-8361-9FE16F10DA55}"/>
                  </a:ext>
                </a:extLst>
              </p:cNvPr>
              <p:cNvPicPr/>
              <p:nvPr/>
            </p:nvPicPr>
            <p:blipFill>
              <a:blip r:embed="rId22" cstate="print"/>
              <a:stretch>
                <a:fillRect/>
              </a:stretch>
            </p:blipFill>
            <p:spPr>
              <a:xfrm>
                <a:off x="1560576" y="5304027"/>
                <a:ext cx="3273552" cy="295656"/>
              </a:xfrm>
              <a:prstGeom prst="rect">
                <a:avLst/>
              </a:prstGeom>
            </p:spPr>
          </p:pic>
          <p:sp>
            <p:nvSpPr>
              <p:cNvPr id="115" name="object 78">
                <a:extLst>
                  <a:ext uri="{FF2B5EF4-FFF2-40B4-BE49-F238E27FC236}">
                    <a16:creationId xmlns:a16="http://schemas.microsoft.com/office/drawing/2014/main" id="{8F93B976-78F1-496E-9AC6-12B0AFCEEEC9}"/>
                  </a:ext>
                </a:extLst>
              </p:cNvPr>
              <p:cNvSpPr/>
              <p:nvPr/>
            </p:nvSpPr>
            <p:spPr>
              <a:xfrm>
                <a:off x="1627111" y="5325592"/>
                <a:ext cx="318579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5795" h="206375">
                    <a:moveTo>
                      <a:pt x="854176" y="102895"/>
                    </a:moveTo>
                    <a:lnTo>
                      <a:pt x="751230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30" y="205803"/>
                    </a:lnTo>
                    <a:lnTo>
                      <a:pt x="854176" y="102895"/>
                    </a:lnTo>
                    <a:close/>
                  </a:path>
                  <a:path w="3185795" h="206375">
                    <a:moveTo>
                      <a:pt x="1632381" y="102895"/>
                    </a:moveTo>
                    <a:lnTo>
                      <a:pt x="1529448" y="0"/>
                    </a:lnTo>
                    <a:lnTo>
                      <a:pt x="778205" y="0"/>
                    </a:lnTo>
                    <a:lnTo>
                      <a:pt x="881138" y="102895"/>
                    </a:lnTo>
                    <a:lnTo>
                      <a:pt x="778205" y="205803"/>
                    </a:lnTo>
                    <a:lnTo>
                      <a:pt x="1529448" y="205803"/>
                    </a:lnTo>
                    <a:lnTo>
                      <a:pt x="1632381" y="102895"/>
                    </a:lnTo>
                    <a:close/>
                  </a:path>
                  <a:path w="3185795" h="206375">
                    <a:moveTo>
                      <a:pt x="2410587" y="102895"/>
                    </a:moveTo>
                    <a:lnTo>
                      <a:pt x="2307653" y="0"/>
                    </a:lnTo>
                    <a:lnTo>
                      <a:pt x="1556410" y="0"/>
                    </a:lnTo>
                    <a:lnTo>
                      <a:pt x="1659343" y="102895"/>
                    </a:lnTo>
                    <a:lnTo>
                      <a:pt x="1556410" y="205803"/>
                    </a:lnTo>
                    <a:lnTo>
                      <a:pt x="2307653" y="205803"/>
                    </a:lnTo>
                    <a:lnTo>
                      <a:pt x="2410587" y="102895"/>
                    </a:lnTo>
                    <a:close/>
                  </a:path>
                  <a:path w="3185795" h="206375">
                    <a:moveTo>
                      <a:pt x="3185706" y="863"/>
                    </a:moveTo>
                    <a:lnTo>
                      <a:pt x="2971050" y="863"/>
                    </a:lnTo>
                    <a:lnTo>
                      <a:pt x="2331529" y="863"/>
                    </a:lnTo>
                    <a:lnTo>
                      <a:pt x="2434031" y="103339"/>
                    </a:lnTo>
                    <a:lnTo>
                      <a:pt x="2331529" y="205803"/>
                    </a:lnTo>
                    <a:lnTo>
                      <a:pt x="3185706" y="205803"/>
                    </a:lnTo>
                    <a:lnTo>
                      <a:pt x="3185706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16" name="object 79">
                <a:extLst>
                  <a:ext uri="{FF2B5EF4-FFF2-40B4-BE49-F238E27FC236}">
                    <a16:creationId xmlns:a16="http://schemas.microsoft.com/office/drawing/2014/main" id="{482017BA-3F85-4E0C-A4E3-961D7CDAB4CD}"/>
                  </a:ext>
                </a:extLst>
              </p:cNvPr>
              <p:cNvPicPr/>
              <p:nvPr/>
            </p:nvPicPr>
            <p:blipFill>
              <a:blip r:embed="rId23" cstate="print"/>
              <a:stretch>
                <a:fillRect/>
              </a:stretch>
            </p:blipFill>
            <p:spPr>
              <a:xfrm>
                <a:off x="5769863" y="4822444"/>
                <a:ext cx="771143" cy="374904"/>
              </a:xfrm>
              <a:prstGeom prst="rect">
                <a:avLst/>
              </a:prstGeom>
            </p:spPr>
          </p:pic>
          <p:pic>
            <p:nvPicPr>
              <p:cNvPr id="117" name="object 80">
                <a:extLst>
                  <a:ext uri="{FF2B5EF4-FFF2-40B4-BE49-F238E27FC236}">
                    <a16:creationId xmlns:a16="http://schemas.microsoft.com/office/drawing/2014/main" id="{4C643FE3-4F28-432C-B92B-38D2B1A7134C}"/>
                  </a:ext>
                </a:extLst>
              </p:cNvPr>
              <p:cNvPicPr/>
              <p:nvPr/>
            </p:nvPicPr>
            <p:blipFill>
              <a:blip r:embed="rId24" cstate="print"/>
              <a:stretch>
                <a:fillRect/>
              </a:stretch>
            </p:blipFill>
            <p:spPr>
              <a:xfrm>
                <a:off x="6083808" y="4868164"/>
                <a:ext cx="338327" cy="310895"/>
              </a:xfrm>
              <a:prstGeom prst="rect">
                <a:avLst/>
              </a:prstGeom>
            </p:spPr>
          </p:pic>
          <p:sp>
            <p:nvSpPr>
              <p:cNvPr id="118" name="object 81">
                <a:extLst>
                  <a:ext uri="{FF2B5EF4-FFF2-40B4-BE49-F238E27FC236}">
                    <a16:creationId xmlns:a16="http://schemas.microsoft.com/office/drawing/2014/main" id="{B58F9D05-AB3A-4C7B-9A84-19A0707E0AF8}"/>
                  </a:ext>
                </a:extLst>
              </p:cNvPr>
              <p:cNvSpPr/>
              <p:nvPr/>
            </p:nvSpPr>
            <p:spPr>
              <a:xfrm>
                <a:off x="5836704" y="4844097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119" name="object 78">
                <a:extLst>
                  <a:ext uri="{FF2B5EF4-FFF2-40B4-BE49-F238E27FC236}">
                    <a16:creationId xmlns:a16="http://schemas.microsoft.com/office/drawing/2014/main" id="{6AB19CA2-91AD-4580-A87C-3AAB4C1734AE}"/>
                  </a:ext>
                </a:extLst>
              </p:cNvPr>
              <p:cNvSpPr/>
              <p:nvPr/>
            </p:nvSpPr>
            <p:spPr>
              <a:xfrm>
                <a:off x="1628231" y="5325541"/>
                <a:ext cx="318579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5795" h="206375">
                    <a:moveTo>
                      <a:pt x="854176" y="102895"/>
                    </a:moveTo>
                    <a:lnTo>
                      <a:pt x="751230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30" y="205803"/>
                    </a:lnTo>
                    <a:lnTo>
                      <a:pt x="854176" y="102895"/>
                    </a:lnTo>
                    <a:close/>
                  </a:path>
                  <a:path w="3185795" h="206375">
                    <a:moveTo>
                      <a:pt x="1632381" y="102895"/>
                    </a:moveTo>
                    <a:lnTo>
                      <a:pt x="1529448" y="0"/>
                    </a:lnTo>
                    <a:lnTo>
                      <a:pt x="778205" y="0"/>
                    </a:lnTo>
                    <a:lnTo>
                      <a:pt x="881138" y="102895"/>
                    </a:lnTo>
                    <a:lnTo>
                      <a:pt x="778205" y="205803"/>
                    </a:lnTo>
                    <a:lnTo>
                      <a:pt x="1529448" y="205803"/>
                    </a:lnTo>
                    <a:lnTo>
                      <a:pt x="1632381" y="102895"/>
                    </a:lnTo>
                    <a:close/>
                  </a:path>
                  <a:path w="3185795" h="206375">
                    <a:moveTo>
                      <a:pt x="2410587" y="102895"/>
                    </a:moveTo>
                    <a:lnTo>
                      <a:pt x="2307653" y="0"/>
                    </a:lnTo>
                    <a:lnTo>
                      <a:pt x="1556410" y="0"/>
                    </a:lnTo>
                    <a:lnTo>
                      <a:pt x="1659343" y="102895"/>
                    </a:lnTo>
                    <a:lnTo>
                      <a:pt x="1556410" y="205803"/>
                    </a:lnTo>
                    <a:lnTo>
                      <a:pt x="2307653" y="205803"/>
                    </a:lnTo>
                    <a:lnTo>
                      <a:pt x="2410587" y="102895"/>
                    </a:lnTo>
                    <a:close/>
                  </a:path>
                  <a:path w="3185795" h="206375">
                    <a:moveTo>
                      <a:pt x="3185706" y="863"/>
                    </a:moveTo>
                    <a:lnTo>
                      <a:pt x="2971050" y="863"/>
                    </a:lnTo>
                    <a:lnTo>
                      <a:pt x="2331529" y="863"/>
                    </a:lnTo>
                    <a:lnTo>
                      <a:pt x="2434031" y="103339"/>
                    </a:lnTo>
                    <a:lnTo>
                      <a:pt x="2331529" y="205803"/>
                    </a:lnTo>
                    <a:lnTo>
                      <a:pt x="3185706" y="205803"/>
                    </a:lnTo>
                    <a:lnTo>
                      <a:pt x="3185706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20" name="object 82">
              <a:extLst>
                <a:ext uri="{FF2B5EF4-FFF2-40B4-BE49-F238E27FC236}">
                  <a16:creationId xmlns:a16="http://schemas.microsoft.com/office/drawing/2014/main" id="{3AD18E97-77A2-4E57-BF5F-155F3C2B517C}"/>
                </a:ext>
              </a:extLst>
            </p:cNvPr>
            <p:cNvSpPr txBox="1"/>
            <p:nvPr/>
          </p:nvSpPr>
          <p:spPr>
            <a:xfrm>
              <a:off x="6540710" y="4396324"/>
              <a:ext cx="620678" cy="185096"/>
            </a:xfrm>
            <a:prstGeom prst="rect">
              <a:avLst/>
            </a:prstGeom>
          </p:spPr>
          <p:txBody>
            <a:bodyPr vert="horz" wrap="square" lIns="0" tIns="58782" rIns="0" bIns="0" rtlCol="0">
              <a:spAutoFit/>
            </a:bodyPr>
            <a:lstStyle/>
            <a:p>
              <a:pPr marL="344067" marR="0" lvl="0" indent="0" defTabSz="914400" eaLnBrk="1" fontAlgn="base" latinLnBrk="0" hangingPunct="1">
                <a:lnSpc>
                  <a:spcPct val="100000"/>
                </a:lnSpc>
                <a:spcBef>
                  <a:spcPts val="462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SH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21" name="object 83">
              <a:extLst>
                <a:ext uri="{FF2B5EF4-FFF2-40B4-BE49-F238E27FC236}">
                  <a16:creationId xmlns:a16="http://schemas.microsoft.com/office/drawing/2014/main" id="{F59CFBE5-1FA8-4EB6-A312-6633A89DD727}"/>
                </a:ext>
              </a:extLst>
            </p:cNvPr>
            <p:cNvGrpSpPr/>
            <p:nvPr/>
          </p:nvGrpSpPr>
          <p:grpSpPr>
            <a:xfrm>
              <a:off x="6480048" y="4404334"/>
              <a:ext cx="3643385" cy="714039"/>
              <a:chOff x="5769864" y="4852923"/>
              <a:chExt cx="4014470" cy="786765"/>
            </a:xfrm>
          </p:grpSpPr>
          <p:pic>
            <p:nvPicPr>
              <p:cNvPr id="106" name="object 84">
                <a:extLst>
                  <a:ext uri="{FF2B5EF4-FFF2-40B4-BE49-F238E27FC236}">
                    <a16:creationId xmlns:a16="http://schemas.microsoft.com/office/drawing/2014/main" id="{D114DEDB-6787-4F19-8D76-4266A1156255}"/>
                  </a:ext>
                </a:extLst>
              </p:cNvPr>
              <p:cNvPicPr/>
              <p:nvPr/>
            </p:nvPicPr>
            <p:blipFill>
              <a:blip r:embed="rId25" cstate="print"/>
              <a:stretch>
                <a:fillRect/>
              </a:stretch>
            </p:blipFill>
            <p:spPr>
              <a:xfrm>
                <a:off x="5918263" y="4888725"/>
                <a:ext cx="209626" cy="210845"/>
              </a:xfrm>
              <a:prstGeom prst="rect">
                <a:avLst/>
              </a:prstGeom>
            </p:spPr>
          </p:pic>
          <p:pic>
            <p:nvPicPr>
              <p:cNvPr id="107" name="object 85">
                <a:extLst>
                  <a:ext uri="{FF2B5EF4-FFF2-40B4-BE49-F238E27FC236}">
                    <a16:creationId xmlns:a16="http://schemas.microsoft.com/office/drawing/2014/main" id="{3556C90E-7CDF-4836-BBA4-26C9DE629723}"/>
                  </a:ext>
                </a:extLst>
              </p:cNvPr>
              <p:cNvPicPr/>
              <p:nvPr/>
            </p:nvPicPr>
            <p:blipFill>
              <a:blip r:embed="rId26" cstate="print"/>
              <a:stretch>
                <a:fillRect/>
              </a:stretch>
            </p:blipFill>
            <p:spPr>
              <a:xfrm>
                <a:off x="6504432" y="4852923"/>
                <a:ext cx="3279648" cy="295656"/>
              </a:xfrm>
              <a:prstGeom prst="rect">
                <a:avLst/>
              </a:prstGeom>
            </p:spPr>
          </p:pic>
          <p:sp>
            <p:nvSpPr>
              <p:cNvPr id="108" name="object 86">
                <a:extLst>
                  <a:ext uri="{FF2B5EF4-FFF2-40B4-BE49-F238E27FC236}">
                    <a16:creationId xmlns:a16="http://schemas.microsoft.com/office/drawing/2014/main" id="{18F9B0CE-9590-4F22-AE33-B359D66CDFAB}"/>
                  </a:ext>
                </a:extLst>
              </p:cNvPr>
              <p:cNvSpPr/>
              <p:nvPr/>
            </p:nvSpPr>
            <p:spPr>
              <a:xfrm>
                <a:off x="6573660" y="4874272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4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1632584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94" y="102908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109" name="object 87">
                <a:extLst>
                  <a:ext uri="{FF2B5EF4-FFF2-40B4-BE49-F238E27FC236}">
                    <a16:creationId xmlns:a16="http://schemas.microsoft.com/office/drawing/2014/main" id="{64DBF9D1-C57E-456A-A0F7-412051BEADB7}"/>
                  </a:ext>
                </a:extLst>
              </p:cNvPr>
              <p:cNvSpPr/>
              <p:nvPr/>
            </p:nvSpPr>
            <p:spPr>
              <a:xfrm>
                <a:off x="8130083" y="4874272"/>
                <a:ext cx="1632585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1632584" h="206375">
                    <a:moveTo>
                      <a:pt x="854176" y="102908"/>
                    </a:moveTo>
                    <a:lnTo>
                      <a:pt x="751243" y="0"/>
                    </a:lnTo>
                    <a:lnTo>
                      <a:pt x="0" y="0"/>
                    </a:lnTo>
                    <a:lnTo>
                      <a:pt x="102933" y="102908"/>
                    </a:lnTo>
                    <a:lnTo>
                      <a:pt x="0" y="205816"/>
                    </a:lnTo>
                    <a:lnTo>
                      <a:pt x="751243" y="205816"/>
                    </a:lnTo>
                    <a:lnTo>
                      <a:pt x="854176" y="102908"/>
                    </a:lnTo>
                    <a:close/>
                  </a:path>
                  <a:path w="1632584" h="206375">
                    <a:moveTo>
                      <a:pt x="1632381" y="0"/>
                    </a:moveTo>
                    <a:lnTo>
                      <a:pt x="1417726" y="0"/>
                    </a:lnTo>
                    <a:lnTo>
                      <a:pt x="778205" y="0"/>
                    </a:lnTo>
                    <a:lnTo>
                      <a:pt x="880706" y="102476"/>
                    </a:lnTo>
                    <a:lnTo>
                      <a:pt x="778205" y="204952"/>
                    </a:lnTo>
                    <a:lnTo>
                      <a:pt x="1632381" y="204952"/>
                    </a:lnTo>
                    <a:lnTo>
                      <a:pt x="1632381" y="0"/>
                    </a:lnTo>
                    <a:close/>
                  </a:path>
                </a:pathLst>
              </a:custGeom>
              <a:solidFill>
                <a:srgbClr val="A6A6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10" name="object 88">
                <a:extLst>
                  <a:ext uri="{FF2B5EF4-FFF2-40B4-BE49-F238E27FC236}">
                    <a16:creationId xmlns:a16="http://schemas.microsoft.com/office/drawing/2014/main" id="{6779E41C-6C67-4724-9F25-70F3887FF218}"/>
                  </a:ext>
                </a:extLst>
              </p:cNvPr>
              <p:cNvPicPr/>
              <p:nvPr/>
            </p:nvPicPr>
            <p:blipFill>
              <a:blip r:embed="rId27" cstate="print"/>
              <a:stretch>
                <a:fillRect/>
              </a:stretch>
            </p:blipFill>
            <p:spPr>
              <a:xfrm>
                <a:off x="5769864" y="5264403"/>
                <a:ext cx="771143" cy="374904"/>
              </a:xfrm>
              <a:prstGeom prst="rect">
                <a:avLst/>
              </a:prstGeom>
            </p:spPr>
          </p:pic>
          <p:pic>
            <p:nvPicPr>
              <p:cNvPr id="111" name="object 89">
                <a:extLst>
                  <a:ext uri="{FF2B5EF4-FFF2-40B4-BE49-F238E27FC236}">
                    <a16:creationId xmlns:a16="http://schemas.microsoft.com/office/drawing/2014/main" id="{ADB7C460-DB23-41A4-9F83-24141EAFE1F0}"/>
                  </a:ext>
                </a:extLst>
              </p:cNvPr>
              <p:cNvPicPr/>
              <p:nvPr/>
            </p:nvPicPr>
            <p:blipFill>
              <a:blip r:embed="rId28" cstate="print"/>
              <a:stretch>
                <a:fillRect/>
              </a:stretch>
            </p:blipFill>
            <p:spPr>
              <a:xfrm>
                <a:off x="6083808" y="5310123"/>
                <a:ext cx="338327" cy="310895"/>
              </a:xfrm>
              <a:prstGeom prst="rect">
                <a:avLst/>
              </a:prstGeom>
            </p:spPr>
          </p:pic>
          <p:sp>
            <p:nvSpPr>
              <p:cNvPr id="112" name="object 90">
                <a:extLst>
                  <a:ext uri="{FF2B5EF4-FFF2-40B4-BE49-F238E27FC236}">
                    <a16:creationId xmlns:a16="http://schemas.microsoft.com/office/drawing/2014/main" id="{C61B165E-5BF6-4BE0-89BF-577A0B709ECE}"/>
                  </a:ext>
                </a:extLst>
              </p:cNvPr>
              <p:cNvSpPr/>
              <p:nvPr/>
            </p:nvSpPr>
            <p:spPr>
              <a:xfrm>
                <a:off x="5836704" y="5286171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22" name="object 91">
              <a:extLst>
                <a:ext uri="{FF2B5EF4-FFF2-40B4-BE49-F238E27FC236}">
                  <a16:creationId xmlns:a16="http://schemas.microsoft.com/office/drawing/2014/main" id="{DDC240F0-3BDA-43A3-A1C5-9B80D826F620}"/>
                </a:ext>
              </a:extLst>
            </p:cNvPr>
            <p:cNvSpPr txBox="1"/>
            <p:nvPr/>
          </p:nvSpPr>
          <p:spPr>
            <a:xfrm>
              <a:off x="6540710" y="4797534"/>
              <a:ext cx="620678" cy="185096"/>
            </a:xfrm>
            <a:prstGeom prst="rect">
              <a:avLst/>
            </a:prstGeom>
          </p:spPr>
          <p:txBody>
            <a:bodyPr vert="horz" wrap="square" lIns="0" tIns="58782" rIns="0" bIns="0" rtlCol="0">
              <a:spAutoFit/>
            </a:bodyPr>
            <a:lstStyle/>
            <a:p>
              <a:pPr marL="341761" marR="0" lvl="0" indent="0" defTabSz="914400" eaLnBrk="1" fontAlgn="base" latinLnBrk="0" hangingPunct="1">
                <a:lnSpc>
                  <a:spcPct val="100000"/>
                </a:lnSpc>
                <a:spcBef>
                  <a:spcPts val="462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TH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23" name="object 92">
              <a:extLst>
                <a:ext uri="{FF2B5EF4-FFF2-40B4-BE49-F238E27FC236}">
                  <a16:creationId xmlns:a16="http://schemas.microsoft.com/office/drawing/2014/main" id="{A6425A71-162B-48F3-9F19-EFB9D4452DC8}"/>
                </a:ext>
              </a:extLst>
            </p:cNvPr>
            <p:cNvGrpSpPr/>
            <p:nvPr/>
          </p:nvGrpSpPr>
          <p:grpSpPr>
            <a:xfrm>
              <a:off x="6480048" y="3574458"/>
              <a:ext cx="3643385" cy="1496658"/>
              <a:chOff x="5769864" y="3938523"/>
              <a:chExt cx="4014470" cy="1649095"/>
            </a:xfrm>
          </p:grpSpPr>
          <p:pic>
            <p:nvPicPr>
              <p:cNvPr id="100" name="object 93">
                <a:extLst>
                  <a:ext uri="{FF2B5EF4-FFF2-40B4-BE49-F238E27FC236}">
                    <a16:creationId xmlns:a16="http://schemas.microsoft.com/office/drawing/2014/main" id="{664CEABD-3B0C-4372-8219-AA12BD8B63BF}"/>
                  </a:ext>
                </a:extLst>
              </p:cNvPr>
              <p:cNvPicPr/>
              <p:nvPr/>
            </p:nvPicPr>
            <p:blipFill>
              <a:blip r:embed="rId29" cstate="print"/>
              <a:stretch>
                <a:fillRect/>
              </a:stretch>
            </p:blipFill>
            <p:spPr>
              <a:xfrm>
                <a:off x="5918263" y="5330799"/>
                <a:ext cx="209626" cy="210845"/>
              </a:xfrm>
              <a:prstGeom prst="rect">
                <a:avLst/>
              </a:prstGeom>
            </p:spPr>
          </p:pic>
          <p:pic>
            <p:nvPicPr>
              <p:cNvPr id="101" name="object 94">
                <a:extLst>
                  <a:ext uri="{FF2B5EF4-FFF2-40B4-BE49-F238E27FC236}">
                    <a16:creationId xmlns:a16="http://schemas.microsoft.com/office/drawing/2014/main" id="{246FD9B4-7595-4E77-816E-7F8039A87439}"/>
                  </a:ext>
                </a:extLst>
              </p:cNvPr>
              <p:cNvPicPr/>
              <p:nvPr/>
            </p:nvPicPr>
            <p:blipFill>
              <a:blip r:embed="rId30" cstate="print"/>
              <a:stretch>
                <a:fillRect/>
              </a:stretch>
            </p:blipFill>
            <p:spPr>
              <a:xfrm>
                <a:off x="6504432" y="5291835"/>
                <a:ext cx="3279648" cy="295656"/>
              </a:xfrm>
              <a:prstGeom prst="rect">
                <a:avLst/>
              </a:prstGeom>
            </p:spPr>
          </p:pic>
          <p:sp>
            <p:nvSpPr>
              <p:cNvPr id="102" name="object 95">
                <a:extLst>
                  <a:ext uri="{FF2B5EF4-FFF2-40B4-BE49-F238E27FC236}">
                    <a16:creationId xmlns:a16="http://schemas.microsoft.com/office/drawing/2014/main" id="{F7A0C2A8-7896-497B-B1F8-6DA96996ED00}"/>
                  </a:ext>
                </a:extLst>
              </p:cNvPr>
              <p:cNvSpPr/>
              <p:nvPr/>
            </p:nvSpPr>
            <p:spPr>
              <a:xfrm>
                <a:off x="6573660" y="5315102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94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16"/>
                    </a:lnTo>
                    <a:lnTo>
                      <a:pt x="2307666" y="205816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863"/>
                    </a:moveTo>
                    <a:lnTo>
                      <a:pt x="2974149" y="863"/>
                    </a:lnTo>
                    <a:lnTo>
                      <a:pt x="2334628" y="863"/>
                    </a:lnTo>
                    <a:lnTo>
                      <a:pt x="2437130" y="103339"/>
                    </a:lnTo>
                    <a:lnTo>
                      <a:pt x="2334628" y="205816"/>
                    </a:lnTo>
                    <a:lnTo>
                      <a:pt x="3188805" y="205803"/>
                    </a:lnTo>
                    <a:lnTo>
                      <a:pt x="3188805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03" name="object 96">
                <a:extLst>
                  <a:ext uri="{FF2B5EF4-FFF2-40B4-BE49-F238E27FC236}">
                    <a16:creationId xmlns:a16="http://schemas.microsoft.com/office/drawing/2014/main" id="{4B77E081-ED5A-4CA3-AB07-7495BD860AC6}"/>
                  </a:ext>
                </a:extLst>
              </p:cNvPr>
              <p:cNvPicPr/>
              <p:nvPr/>
            </p:nvPicPr>
            <p:blipFill>
              <a:blip r:embed="rId31" cstate="print"/>
              <a:stretch>
                <a:fillRect/>
              </a:stretch>
            </p:blipFill>
            <p:spPr>
              <a:xfrm>
                <a:off x="5769864" y="3938523"/>
                <a:ext cx="771143" cy="374903"/>
              </a:xfrm>
              <a:prstGeom prst="rect">
                <a:avLst/>
              </a:prstGeom>
            </p:spPr>
          </p:pic>
          <p:pic>
            <p:nvPicPr>
              <p:cNvPr id="104" name="object 97">
                <a:extLst>
                  <a:ext uri="{FF2B5EF4-FFF2-40B4-BE49-F238E27FC236}">
                    <a16:creationId xmlns:a16="http://schemas.microsoft.com/office/drawing/2014/main" id="{0C24DC49-96D0-4242-A398-A1520562E14D}"/>
                  </a:ext>
                </a:extLst>
              </p:cNvPr>
              <p:cNvPicPr/>
              <p:nvPr/>
            </p:nvPicPr>
            <p:blipFill>
              <a:blip r:embed="rId32" cstate="print"/>
              <a:stretch>
                <a:fillRect/>
              </a:stretch>
            </p:blipFill>
            <p:spPr>
              <a:xfrm>
                <a:off x="6080760" y="3984243"/>
                <a:ext cx="341375" cy="310896"/>
              </a:xfrm>
              <a:prstGeom prst="rect">
                <a:avLst/>
              </a:prstGeom>
            </p:spPr>
          </p:pic>
          <p:sp>
            <p:nvSpPr>
              <p:cNvPr id="105" name="object 98">
                <a:extLst>
                  <a:ext uri="{FF2B5EF4-FFF2-40B4-BE49-F238E27FC236}">
                    <a16:creationId xmlns:a16="http://schemas.microsoft.com/office/drawing/2014/main" id="{6C06D6BB-0CF0-481C-886B-8587E21F473F}"/>
                  </a:ext>
                </a:extLst>
              </p:cNvPr>
              <p:cNvSpPr/>
              <p:nvPr/>
            </p:nvSpPr>
            <p:spPr>
              <a:xfrm>
                <a:off x="5836704" y="3959936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57"/>
                    </a:lnTo>
                    <a:lnTo>
                      <a:pt x="683336" y="284657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24" name="object 99">
              <a:extLst>
                <a:ext uri="{FF2B5EF4-FFF2-40B4-BE49-F238E27FC236}">
                  <a16:creationId xmlns:a16="http://schemas.microsoft.com/office/drawing/2014/main" id="{E79A9F50-978A-4E71-A310-2F18B46FBAC8}"/>
                </a:ext>
              </a:extLst>
            </p:cNvPr>
            <p:cNvSpPr txBox="1"/>
            <p:nvPr/>
          </p:nvSpPr>
          <p:spPr>
            <a:xfrm>
              <a:off x="6540710" y="3593892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40609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SN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25" name="object 100">
              <a:extLst>
                <a:ext uri="{FF2B5EF4-FFF2-40B4-BE49-F238E27FC236}">
                  <a16:creationId xmlns:a16="http://schemas.microsoft.com/office/drawing/2014/main" id="{F0BCAC3E-DCF7-41CA-9DD2-E38687FC68BE}"/>
                </a:ext>
              </a:extLst>
            </p:cNvPr>
            <p:cNvGrpSpPr/>
            <p:nvPr/>
          </p:nvGrpSpPr>
          <p:grpSpPr>
            <a:xfrm>
              <a:off x="6480048" y="3604888"/>
              <a:ext cx="3643385" cy="711157"/>
              <a:chOff x="5769864" y="3972052"/>
              <a:chExt cx="4014470" cy="783590"/>
            </a:xfrm>
          </p:grpSpPr>
          <p:pic>
            <p:nvPicPr>
              <p:cNvPr id="94" name="object 101">
                <a:extLst>
                  <a:ext uri="{FF2B5EF4-FFF2-40B4-BE49-F238E27FC236}">
                    <a16:creationId xmlns:a16="http://schemas.microsoft.com/office/drawing/2014/main" id="{50764ED1-5636-4B33-B39E-5BD822052BD0}"/>
                  </a:ext>
                </a:extLst>
              </p:cNvPr>
              <p:cNvPicPr/>
              <p:nvPr/>
            </p:nvPicPr>
            <p:blipFill>
              <a:blip r:embed="rId33" cstate="print"/>
              <a:stretch>
                <a:fillRect/>
              </a:stretch>
            </p:blipFill>
            <p:spPr>
              <a:xfrm>
                <a:off x="5914123" y="4004571"/>
                <a:ext cx="216622" cy="210850"/>
              </a:xfrm>
              <a:prstGeom prst="rect">
                <a:avLst/>
              </a:prstGeom>
            </p:spPr>
          </p:pic>
          <p:pic>
            <p:nvPicPr>
              <p:cNvPr id="95" name="object 102">
                <a:extLst>
                  <a:ext uri="{FF2B5EF4-FFF2-40B4-BE49-F238E27FC236}">
                    <a16:creationId xmlns:a16="http://schemas.microsoft.com/office/drawing/2014/main" id="{32A1A348-7F1C-4DDE-9640-820EA670795C}"/>
                  </a:ext>
                </a:extLst>
              </p:cNvPr>
              <p:cNvPicPr/>
              <p:nvPr/>
            </p:nvPicPr>
            <p:blipFill>
              <a:blip r:embed="rId34" cstate="print"/>
              <a:stretch>
                <a:fillRect/>
              </a:stretch>
            </p:blipFill>
            <p:spPr>
              <a:xfrm>
                <a:off x="6504432" y="3972052"/>
                <a:ext cx="3279648" cy="292608"/>
              </a:xfrm>
              <a:prstGeom prst="rect">
                <a:avLst/>
              </a:prstGeom>
            </p:spPr>
          </p:pic>
          <p:sp>
            <p:nvSpPr>
              <p:cNvPr id="96" name="object 103">
                <a:extLst>
                  <a:ext uri="{FF2B5EF4-FFF2-40B4-BE49-F238E27FC236}">
                    <a16:creationId xmlns:a16="http://schemas.microsoft.com/office/drawing/2014/main" id="{21373D8E-A860-497B-93DA-D7704054AEB3}"/>
                  </a:ext>
                </a:extLst>
              </p:cNvPr>
              <p:cNvSpPr/>
              <p:nvPr/>
            </p:nvSpPr>
            <p:spPr>
              <a:xfrm>
                <a:off x="6573660" y="3992613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94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16"/>
                    </a:lnTo>
                    <a:lnTo>
                      <a:pt x="2307666" y="205816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0"/>
                    </a:moveTo>
                    <a:lnTo>
                      <a:pt x="2974149" y="12"/>
                    </a:lnTo>
                    <a:lnTo>
                      <a:pt x="2334628" y="12"/>
                    </a:lnTo>
                    <a:lnTo>
                      <a:pt x="2437130" y="102476"/>
                    </a:lnTo>
                    <a:lnTo>
                      <a:pt x="2334628" y="204952"/>
                    </a:lnTo>
                    <a:lnTo>
                      <a:pt x="3188805" y="204952"/>
                    </a:lnTo>
                    <a:lnTo>
                      <a:pt x="3188805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97" name="object 104">
                <a:extLst>
                  <a:ext uri="{FF2B5EF4-FFF2-40B4-BE49-F238E27FC236}">
                    <a16:creationId xmlns:a16="http://schemas.microsoft.com/office/drawing/2014/main" id="{89D511F8-4A44-479D-A6EE-54B428AD27C2}"/>
                  </a:ext>
                </a:extLst>
              </p:cNvPr>
              <p:cNvPicPr/>
              <p:nvPr/>
            </p:nvPicPr>
            <p:blipFill>
              <a:blip r:embed="rId35" cstate="print"/>
              <a:stretch>
                <a:fillRect/>
              </a:stretch>
            </p:blipFill>
            <p:spPr>
              <a:xfrm>
                <a:off x="5769864" y="4380484"/>
                <a:ext cx="771143" cy="374904"/>
              </a:xfrm>
              <a:prstGeom prst="rect">
                <a:avLst/>
              </a:prstGeom>
            </p:spPr>
          </p:pic>
          <p:pic>
            <p:nvPicPr>
              <p:cNvPr id="98" name="object 105">
                <a:extLst>
                  <a:ext uri="{FF2B5EF4-FFF2-40B4-BE49-F238E27FC236}">
                    <a16:creationId xmlns:a16="http://schemas.microsoft.com/office/drawing/2014/main" id="{BA079CCA-EA6F-4CA2-A46C-A6153AEEAABD}"/>
                  </a:ext>
                </a:extLst>
              </p:cNvPr>
              <p:cNvPicPr/>
              <p:nvPr/>
            </p:nvPicPr>
            <p:blipFill>
              <a:blip r:embed="rId36" cstate="print"/>
              <a:stretch>
                <a:fillRect/>
              </a:stretch>
            </p:blipFill>
            <p:spPr>
              <a:xfrm>
                <a:off x="6099048" y="4426204"/>
                <a:ext cx="323088" cy="310895"/>
              </a:xfrm>
              <a:prstGeom prst="rect">
                <a:avLst/>
              </a:prstGeom>
            </p:spPr>
          </p:pic>
          <p:sp>
            <p:nvSpPr>
              <p:cNvPr id="99" name="object 106">
                <a:extLst>
                  <a:ext uri="{FF2B5EF4-FFF2-40B4-BE49-F238E27FC236}">
                    <a16:creationId xmlns:a16="http://schemas.microsoft.com/office/drawing/2014/main" id="{407DB641-DCBA-40F1-885E-6CF76B4A218B}"/>
                  </a:ext>
                </a:extLst>
              </p:cNvPr>
              <p:cNvSpPr/>
              <p:nvPr/>
            </p:nvSpPr>
            <p:spPr>
              <a:xfrm>
                <a:off x="5836704" y="4402023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26" name="object 107">
              <a:extLst>
                <a:ext uri="{FF2B5EF4-FFF2-40B4-BE49-F238E27FC236}">
                  <a16:creationId xmlns:a16="http://schemas.microsoft.com/office/drawing/2014/main" id="{2D936574-D336-40C4-BD4A-1EF7A3F4FBEB}"/>
                </a:ext>
              </a:extLst>
            </p:cNvPr>
            <p:cNvSpPr txBox="1"/>
            <p:nvPr/>
          </p:nvSpPr>
          <p:spPr>
            <a:xfrm>
              <a:off x="6540710" y="3995114"/>
              <a:ext cx="620678" cy="185678"/>
            </a:xfrm>
            <a:prstGeom prst="rect">
              <a:avLst/>
            </a:prstGeom>
          </p:spPr>
          <p:txBody>
            <a:bodyPr vert="horz" wrap="square" lIns="0" tIns="59358" rIns="0" bIns="0" rtlCol="0">
              <a:spAutoFit/>
            </a:bodyPr>
            <a:lstStyle/>
            <a:p>
              <a:pPr marL="356746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ST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27" name="object 108">
              <a:extLst>
                <a:ext uri="{FF2B5EF4-FFF2-40B4-BE49-F238E27FC236}">
                  <a16:creationId xmlns:a16="http://schemas.microsoft.com/office/drawing/2014/main" id="{9B4BF3D6-8CE3-4367-AD39-8A032A8D0048}"/>
                </a:ext>
              </a:extLst>
            </p:cNvPr>
            <p:cNvGrpSpPr/>
            <p:nvPr/>
          </p:nvGrpSpPr>
          <p:grpSpPr>
            <a:xfrm>
              <a:off x="6480048" y="2772246"/>
              <a:ext cx="3643385" cy="1499539"/>
              <a:chOff x="5769864" y="3054604"/>
              <a:chExt cx="4014470" cy="1652270"/>
            </a:xfrm>
          </p:grpSpPr>
          <p:pic>
            <p:nvPicPr>
              <p:cNvPr id="88" name="object 109">
                <a:extLst>
                  <a:ext uri="{FF2B5EF4-FFF2-40B4-BE49-F238E27FC236}">
                    <a16:creationId xmlns:a16="http://schemas.microsoft.com/office/drawing/2014/main" id="{4F7E8152-549F-4019-989B-4668DF2B0343}"/>
                  </a:ext>
                </a:extLst>
              </p:cNvPr>
              <p:cNvPicPr/>
              <p:nvPr/>
            </p:nvPicPr>
            <p:blipFill>
              <a:blip r:embed="rId37" cstate="print"/>
              <a:stretch>
                <a:fillRect/>
              </a:stretch>
            </p:blipFill>
            <p:spPr>
              <a:xfrm>
                <a:off x="5925769" y="4446651"/>
                <a:ext cx="196931" cy="210845"/>
              </a:xfrm>
              <a:prstGeom prst="rect">
                <a:avLst/>
              </a:prstGeom>
            </p:spPr>
          </p:pic>
          <p:pic>
            <p:nvPicPr>
              <p:cNvPr id="89" name="object 110">
                <a:extLst>
                  <a:ext uri="{FF2B5EF4-FFF2-40B4-BE49-F238E27FC236}">
                    <a16:creationId xmlns:a16="http://schemas.microsoft.com/office/drawing/2014/main" id="{74C978BC-E9A0-493C-AAC7-0AC7C27DDCEF}"/>
                  </a:ext>
                </a:extLst>
              </p:cNvPr>
              <p:cNvPicPr/>
              <p:nvPr/>
            </p:nvPicPr>
            <p:blipFill>
              <a:blip r:embed="rId38" cstate="print"/>
              <a:stretch>
                <a:fillRect/>
              </a:stretch>
            </p:blipFill>
            <p:spPr>
              <a:xfrm>
                <a:off x="6504432" y="4410964"/>
                <a:ext cx="3279648" cy="295656"/>
              </a:xfrm>
              <a:prstGeom prst="rect">
                <a:avLst/>
              </a:prstGeom>
            </p:spPr>
          </p:pic>
          <p:sp>
            <p:nvSpPr>
              <p:cNvPr id="90" name="object 111">
                <a:extLst>
                  <a:ext uri="{FF2B5EF4-FFF2-40B4-BE49-F238E27FC236}">
                    <a16:creationId xmlns:a16="http://schemas.microsoft.com/office/drawing/2014/main" id="{86B669AA-3155-48CB-8BE7-0CE8223A0B0A}"/>
                  </a:ext>
                </a:extLst>
              </p:cNvPr>
              <p:cNvSpPr/>
              <p:nvPr/>
            </p:nvSpPr>
            <p:spPr>
              <a:xfrm>
                <a:off x="6573660" y="4433442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16"/>
                    </a:lnTo>
                    <a:lnTo>
                      <a:pt x="751255" y="205816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16"/>
                    </a:lnTo>
                    <a:lnTo>
                      <a:pt x="1529461" y="205816"/>
                    </a:lnTo>
                    <a:lnTo>
                      <a:pt x="1632394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16"/>
                    </a:lnTo>
                    <a:lnTo>
                      <a:pt x="2307666" y="205816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863"/>
                    </a:moveTo>
                    <a:lnTo>
                      <a:pt x="2974149" y="863"/>
                    </a:lnTo>
                    <a:lnTo>
                      <a:pt x="2334628" y="863"/>
                    </a:lnTo>
                    <a:lnTo>
                      <a:pt x="2437130" y="103339"/>
                    </a:lnTo>
                    <a:lnTo>
                      <a:pt x="2334628" y="205816"/>
                    </a:lnTo>
                    <a:lnTo>
                      <a:pt x="3188805" y="205816"/>
                    </a:lnTo>
                    <a:lnTo>
                      <a:pt x="3188805" y="863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91" name="object 112">
                <a:extLst>
                  <a:ext uri="{FF2B5EF4-FFF2-40B4-BE49-F238E27FC236}">
                    <a16:creationId xmlns:a16="http://schemas.microsoft.com/office/drawing/2014/main" id="{CEAF2B8C-F414-467E-8185-8A9C97BDF1DE}"/>
                  </a:ext>
                </a:extLst>
              </p:cNvPr>
              <p:cNvPicPr/>
              <p:nvPr/>
            </p:nvPicPr>
            <p:blipFill>
              <a:blip r:embed="rId39" cstate="print"/>
              <a:stretch>
                <a:fillRect/>
              </a:stretch>
            </p:blipFill>
            <p:spPr>
              <a:xfrm>
                <a:off x="5769864" y="3054604"/>
                <a:ext cx="771143" cy="374903"/>
              </a:xfrm>
              <a:prstGeom prst="rect">
                <a:avLst/>
              </a:prstGeom>
            </p:spPr>
          </p:pic>
          <p:pic>
            <p:nvPicPr>
              <p:cNvPr id="92" name="object 113">
                <a:extLst>
                  <a:ext uri="{FF2B5EF4-FFF2-40B4-BE49-F238E27FC236}">
                    <a16:creationId xmlns:a16="http://schemas.microsoft.com/office/drawing/2014/main" id="{E5B05726-B237-438F-8F1F-8CCC3D088E9A}"/>
                  </a:ext>
                </a:extLst>
              </p:cNvPr>
              <p:cNvPicPr/>
              <p:nvPr/>
            </p:nvPicPr>
            <p:blipFill>
              <a:blip r:embed="rId40" cstate="print"/>
              <a:stretch>
                <a:fillRect/>
              </a:stretch>
            </p:blipFill>
            <p:spPr>
              <a:xfrm>
                <a:off x="6083808" y="3100324"/>
                <a:ext cx="338327" cy="310896"/>
              </a:xfrm>
              <a:prstGeom prst="rect">
                <a:avLst/>
              </a:prstGeom>
            </p:spPr>
          </p:pic>
          <p:sp>
            <p:nvSpPr>
              <p:cNvPr id="93" name="object 114">
                <a:extLst>
                  <a:ext uri="{FF2B5EF4-FFF2-40B4-BE49-F238E27FC236}">
                    <a16:creationId xmlns:a16="http://schemas.microsoft.com/office/drawing/2014/main" id="{7C88E643-83BE-4518-A182-4076707753C4}"/>
                  </a:ext>
                </a:extLst>
              </p:cNvPr>
              <p:cNvSpPr/>
              <p:nvPr/>
            </p:nvSpPr>
            <p:spPr>
              <a:xfrm>
                <a:off x="5836704" y="3075787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28" name="object 115">
              <a:extLst>
                <a:ext uri="{FF2B5EF4-FFF2-40B4-BE49-F238E27FC236}">
                  <a16:creationId xmlns:a16="http://schemas.microsoft.com/office/drawing/2014/main" id="{E451EE98-A414-4091-9774-4B5C01D49E20}"/>
                </a:ext>
              </a:extLst>
            </p:cNvPr>
            <p:cNvSpPr txBox="1"/>
            <p:nvPr/>
          </p:nvSpPr>
          <p:spPr>
            <a:xfrm>
              <a:off x="6540710" y="2791471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44067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RP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29" name="object 116">
              <a:extLst>
                <a:ext uri="{FF2B5EF4-FFF2-40B4-BE49-F238E27FC236}">
                  <a16:creationId xmlns:a16="http://schemas.microsoft.com/office/drawing/2014/main" id="{553F5B4E-76B3-45B4-9885-7B71B10FCAF7}"/>
                </a:ext>
              </a:extLst>
            </p:cNvPr>
            <p:cNvGrpSpPr/>
            <p:nvPr/>
          </p:nvGrpSpPr>
          <p:grpSpPr>
            <a:xfrm>
              <a:off x="6480048" y="2802675"/>
              <a:ext cx="3643385" cy="711157"/>
              <a:chOff x="5769864" y="3088132"/>
              <a:chExt cx="4014470" cy="783590"/>
            </a:xfrm>
          </p:grpSpPr>
          <p:pic>
            <p:nvPicPr>
              <p:cNvPr id="82" name="object 117">
                <a:extLst>
                  <a:ext uri="{FF2B5EF4-FFF2-40B4-BE49-F238E27FC236}">
                    <a16:creationId xmlns:a16="http://schemas.microsoft.com/office/drawing/2014/main" id="{F5700776-8667-49D1-8843-07CAEF373C71}"/>
                  </a:ext>
                </a:extLst>
              </p:cNvPr>
              <p:cNvPicPr/>
              <p:nvPr/>
            </p:nvPicPr>
            <p:blipFill>
              <a:blip r:embed="rId41" cstate="print"/>
              <a:stretch>
                <a:fillRect/>
              </a:stretch>
            </p:blipFill>
            <p:spPr>
              <a:xfrm>
                <a:off x="5925769" y="3120415"/>
                <a:ext cx="196931" cy="210845"/>
              </a:xfrm>
              <a:prstGeom prst="rect">
                <a:avLst/>
              </a:prstGeom>
            </p:spPr>
          </p:pic>
          <p:pic>
            <p:nvPicPr>
              <p:cNvPr id="83" name="object 118">
                <a:extLst>
                  <a:ext uri="{FF2B5EF4-FFF2-40B4-BE49-F238E27FC236}">
                    <a16:creationId xmlns:a16="http://schemas.microsoft.com/office/drawing/2014/main" id="{7422A7C5-E2D9-411D-BDE9-01BF822844FB}"/>
                  </a:ext>
                </a:extLst>
              </p:cNvPr>
              <p:cNvPicPr/>
              <p:nvPr/>
            </p:nvPicPr>
            <p:blipFill>
              <a:blip r:embed="rId42" cstate="print"/>
              <a:stretch>
                <a:fillRect/>
              </a:stretch>
            </p:blipFill>
            <p:spPr>
              <a:xfrm>
                <a:off x="6504432" y="3088132"/>
                <a:ext cx="3279648" cy="295656"/>
              </a:xfrm>
              <a:prstGeom prst="rect">
                <a:avLst/>
              </a:prstGeom>
            </p:spPr>
          </p:pic>
          <p:sp>
            <p:nvSpPr>
              <p:cNvPr id="84" name="object 119">
                <a:extLst>
                  <a:ext uri="{FF2B5EF4-FFF2-40B4-BE49-F238E27FC236}">
                    <a16:creationId xmlns:a16="http://schemas.microsoft.com/office/drawing/2014/main" id="{7A6EFF23-B61F-473A-A7AF-7C2D1C0AE97E}"/>
                  </a:ext>
                </a:extLst>
              </p:cNvPr>
              <p:cNvSpPr/>
              <p:nvPr/>
            </p:nvSpPr>
            <p:spPr>
              <a:xfrm>
                <a:off x="6573660" y="3110966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55" y="205803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03"/>
                    </a:lnTo>
                    <a:lnTo>
                      <a:pt x="1529461" y="205803"/>
                    </a:lnTo>
                    <a:lnTo>
                      <a:pt x="1632394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03"/>
                    </a:lnTo>
                    <a:lnTo>
                      <a:pt x="2307666" y="205803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0"/>
                    </a:moveTo>
                    <a:lnTo>
                      <a:pt x="2974149" y="0"/>
                    </a:lnTo>
                    <a:lnTo>
                      <a:pt x="2334628" y="0"/>
                    </a:lnTo>
                    <a:lnTo>
                      <a:pt x="2437130" y="102476"/>
                    </a:lnTo>
                    <a:lnTo>
                      <a:pt x="2334628" y="204939"/>
                    </a:lnTo>
                    <a:lnTo>
                      <a:pt x="3188805" y="204939"/>
                    </a:lnTo>
                    <a:lnTo>
                      <a:pt x="3188805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85" name="object 120">
                <a:extLst>
                  <a:ext uri="{FF2B5EF4-FFF2-40B4-BE49-F238E27FC236}">
                    <a16:creationId xmlns:a16="http://schemas.microsoft.com/office/drawing/2014/main" id="{16CD8502-7200-4863-848B-98B8CCF2A362}"/>
                  </a:ext>
                </a:extLst>
              </p:cNvPr>
              <p:cNvPicPr/>
              <p:nvPr/>
            </p:nvPicPr>
            <p:blipFill>
              <a:blip r:embed="rId43" cstate="print"/>
              <a:stretch>
                <a:fillRect/>
              </a:stretch>
            </p:blipFill>
            <p:spPr>
              <a:xfrm>
                <a:off x="5769864" y="3496564"/>
                <a:ext cx="771143" cy="374903"/>
              </a:xfrm>
              <a:prstGeom prst="rect">
                <a:avLst/>
              </a:prstGeom>
            </p:spPr>
          </p:pic>
          <p:pic>
            <p:nvPicPr>
              <p:cNvPr id="86" name="object 121">
                <a:extLst>
                  <a:ext uri="{FF2B5EF4-FFF2-40B4-BE49-F238E27FC236}">
                    <a16:creationId xmlns:a16="http://schemas.microsoft.com/office/drawing/2014/main" id="{381FA739-25F6-4247-A688-97E0A2974F07}"/>
                  </a:ext>
                </a:extLst>
              </p:cNvPr>
              <p:cNvPicPr/>
              <p:nvPr/>
            </p:nvPicPr>
            <p:blipFill>
              <a:blip r:embed="rId44" cstate="print"/>
              <a:stretch>
                <a:fillRect/>
              </a:stretch>
            </p:blipFill>
            <p:spPr>
              <a:xfrm>
                <a:off x="6105144" y="3542284"/>
                <a:ext cx="316991" cy="310896"/>
              </a:xfrm>
              <a:prstGeom prst="rect">
                <a:avLst/>
              </a:prstGeom>
            </p:spPr>
          </p:pic>
          <p:sp>
            <p:nvSpPr>
              <p:cNvPr id="87" name="object 122">
                <a:extLst>
                  <a:ext uri="{FF2B5EF4-FFF2-40B4-BE49-F238E27FC236}">
                    <a16:creationId xmlns:a16="http://schemas.microsoft.com/office/drawing/2014/main" id="{7BC213C2-C002-479D-A6FF-088E5B67BC86}"/>
                  </a:ext>
                </a:extLst>
              </p:cNvPr>
              <p:cNvSpPr/>
              <p:nvPr/>
            </p:nvSpPr>
            <p:spPr>
              <a:xfrm>
                <a:off x="5836704" y="3517861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30" name="object 123">
              <a:extLst>
                <a:ext uri="{FF2B5EF4-FFF2-40B4-BE49-F238E27FC236}">
                  <a16:creationId xmlns:a16="http://schemas.microsoft.com/office/drawing/2014/main" id="{6D543334-B265-4235-9AA4-1B42387BD5D1}"/>
                </a:ext>
              </a:extLst>
            </p:cNvPr>
            <p:cNvSpPr txBox="1"/>
            <p:nvPr/>
          </p:nvSpPr>
          <p:spPr>
            <a:xfrm>
              <a:off x="6540710" y="3192682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63662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SL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31" name="object 124">
              <a:extLst>
                <a:ext uri="{FF2B5EF4-FFF2-40B4-BE49-F238E27FC236}">
                  <a16:creationId xmlns:a16="http://schemas.microsoft.com/office/drawing/2014/main" id="{68962156-AB27-42C0-864C-09E304D982E0}"/>
                </a:ext>
              </a:extLst>
            </p:cNvPr>
            <p:cNvGrpSpPr/>
            <p:nvPr/>
          </p:nvGrpSpPr>
          <p:grpSpPr>
            <a:xfrm>
              <a:off x="6480048" y="2371140"/>
              <a:ext cx="3643385" cy="1101314"/>
              <a:chOff x="5769864" y="2612644"/>
              <a:chExt cx="4014470" cy="1213485"/>
            </a:xfrm>
          </p:grpSpPr>
          <p:pic>
            <p:nvPicPr>
              <p:cNvPr id="76" name="object 125">
                <a:extLst>
                  <a:ext uri="{FF2B5EF4-FFF2-40B4-BE49-F238E27FC236}">
                    <a16:creationId xmlns:a16="http://schemas.microsoft.com/office/drawing/2014/main" id="{FD67EE8B-AD8D-4E5A-B974-C1A30251B915}"/>
                  </a:ext>
                </a:extLst>
              </p:cNvPr>
              <p:cNvPicPr/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5925769" y="3562497"/>
                <a:ext cx="196931" cy="210850"/>
              </a:xfrm>
              <a:prstGeom prst="rect">
                <a:avLst/>
              </a:prstGeom>
            </p:spPr>
          </p:pic>
          <p:pic>
            <p:nvPicPr>
              <p:cNvPr id="77" name="object 126">
                <a:extLst>
                  <a:ext uri="{FF2B5EF4-FFF2-40B4-BE49-F238E27FC236}">
                    <a16:creationId xmlns:a16="http://schemas.microsoft.com/office/drawing/2014/main" id="{831DE747-7406-44E4-9DE4-814B1CE635F4}"/>
                  </a:ext>
                </a:extLst>
              </p:cNvPr>
              <p:cNvPicPr/>
              <p:nvPr/>
            </p:nvPicPr>
            <p:blipFill>
              <a:blip r:embed="rId46" cstate="print"/>
              <a:stretch>
                <a:fillRect/>
              </a:stretch>
            </p:blipFill>
            <p:spPr>
              <a:xfrm>
                <a:off x="6504432" y="3530091"/>
                <a:ext cx="3279648" cy="295655"/>
              </a:xfrm>
              <a:prstGeom prst="rect">
                <a:avLst/>
              </a:prstGeom>
            </p:spPr>
          </p:pic>
          <p:sp>
            <p:nvSpPr>
              <p:cNvPr id="78" name="object 127">
                <a:extLst>
                  <a:ext uri="{FF2B5EF4-FFF2-40B4-BE49-F238E27FC236}">
                    <a16:creationId xmlns:a16="http://schemas.microsoft.com/office/drawing/2014/main" id="{31AC088D-79B2-425F-872B-89F2103E998A}"/>
                  </a:ext>
                </a:extLst>
              </p:cNvPr>
              <p:cNvSpPr/>
              <p:nvPr/>
            </p:nvSpPr>
            <p:spPr>
              <a:xfrm>
                <a:off x="6573660" y="3551796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895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55" y="205803"/>
                    </a:lnTo>
                    <a:lnTo>
                      <a:pt x="854189" y="102895"/>
                    </a:lnTo>
                    <a:close/>
                  </a:path>
                  <a:path w="3188970" h="206375">
                    <a:moveTo>
                      <a:pt x="1632394" y="102895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895"/>
                    </a:lnTo>
                    <a:lnTo>
                      <a:pt x="778217" y="205803"/>
                    </a:lnTo>
                    <a:lnTo>
                      <a:pt x="1529461" y="205803"/>
                    </a:lnTo>
                    <a:lnTo>
                      <a:pt x="1632394" y="102895"/>
                    </a:lnTo>
                    <a:close/>
                  </a:path>
                  <a:path w="3188970" h="206375">
                    <a:moveTo>
                      <a:pt x="2410599" y="102895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895"/>
                    </a:lnTo>
                    <a:lnTo>
                      <a:pt x="1556423" y="205803"/>
                    </a:lnTo>
                    <a:lnTo>
                      <a:pt x="2307666" y="205803"/>
                    </a:lnTo>
                    <a:lnTo>
                      <a:pt x="2410599" y="102895"/>
                    </a:lnTo>
                    <a:close/>
                  </a:path>
                  <a:path w="3188970" h="206375">
                    <a:moveTo>
                      <a:pt x="3188805" y="850"/>
                    </a:moveTo>
                    <a:lnTo>
                      <a:pt x="2974149" y="863"/>
                    </a:lnTo>
                    <a:lnTo>
                      <a:pt x="2334628" y="863"/>
                    </a:lnTo>
                    <a:lnTo>
                      <a:pt x="2437130" y="103327"/>
                    </a:lnTo>
                    <a:lnTo>
                      <a:pt x="2334628" y="205803"/>
                    </a:lnTo>
                    <a:lnTo>
                      <a:pt x="3188805" y="205803"/>
                    </a:lnTo>
                    <a:lnTo>
                      <a:pt x="3188805" y="85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79" name="object 128">
                <a:extLst>
                  <a:ext uri="{FF2B5EF4-FFF2-40B4-BE49-F238E27FC236}">
                    <a16:creationId xmlns:a16="http://schemas.microsoft.com/office/drawing/2014/main" id="{D3A8DFD8-8D39-4237-A7D8-91345FE5A6C9}"/>
                  </a:ext>
                </a:extLst>
              </p:cNvPr>
              <p:cNvPicPr/>
              <p:nvPr/>
            </p:nvPicPr>
            <p:blipFill>
              <a:blip r:embed="rId47" cstate="print"/>
              <a:stretch>
                <a:fillRect/>
              </a:stretch>
            </p:blipFill>
            <p:spPr>
              <a:xfrm>
                <a:off x="5769864" y="2612644"/>
                <a:ext cx="771143" cy="374903"/>
              </a:xfrm>
              <a:prstGeom prst="rect">
                <a:avLst/>
              </a:prstGeom>
            </p:spPr>
          </p:pic>
          <p:pic>
            <p:nvPicPr>
              <p:cNvPr id="80" name="object 129">
                <a:extLst>
                  <a:ext uri="{FF2B5EF4-FFF2-40B4-BE49-F238E27FC236}">
                    <a16:creationId xmlns:a16="http://schemas.microsoft.com/office/drawing/2014/main" id="{BCC213B3-B53A-4BB2-8FA9-EAA0E1C5C2AB}"/>
                  </a:ext>
                </a:extLst>
              </p:cNvPr>
              <p:cNvPicPr/>
              <p:nvPr/>
            </p:nvPicPr>
            <p:blipFill>
              <a:blip r:embed="rId48" cstate="print"/>
              <a:stretch>
                <a:fillRect/>
              </a:stretch>
            </p:blipFill>
            <p:spPr>
              <a:xfrm>
                <a:off x="6105144" y="2658364"/>
                <a:ext cx="316991" cy="310896"/>
              </a:xfrm>
              <a:prstGeom prst="rect">
                <a:avLst/>
              </a:prstGeom>
            </p:spPr>
          </p:pic>
          <p:sp>
            <p:nvSpPr>
              <p:cNvPr id="81" name="object 130">
                <a:extLst>
                  <a:ext uri="{FF2B5EF4-FFF2-40B4-BE49-F238E27FC236}">
                    <a16:creationId xmlns:a16="http://schemas.microsoft.com/office/drawing/2014/main" id="{522C937D-65B8-4424-B097-70E2F52E21E6}"/>
                  </a:ext>
                </a:extLst>
              </p:cNvPr>
              <p:cNvSpPr/>
              <p:nvPr/>
            </p:nvSpPr>
            <p:spPr>
              <a:xfrm>
                <a:off x="5836704" y="2633713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5" h="285114">
                    <a:moveTo>
                      <a:pt x="683336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6" y="284645"/>
                    </a:lnTo>
                    <a:lnTo>
                      <a:pt x="683336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32" name="object 131">
              <a:extLst>
                <a:ext uri="{FF2B5EF4-FFF2-40B4-BE49-F238E27FC236}">
                  <a16:creationId xmlns:a16="http://schemas.microsoft.com/office/drawing/2014/main" id="{3BCF9445-C34F-49C9-8657-4E6BF017F383}"/>
                </a:ext>
              </a:extLst>
            </p:cNvPr>
            <p:cNvSpPr txBox="1"/>
            <p:nvPr/>
          </p:nvSpPr>
          <p:spPr>
            <a:xfrm>
              <a:off x="6540710" y="2390261"/>
              <a:ext cx="620678" cy="185679"/>
            </a:xfrm>
            <a:prstGeom prst="rect">
              <a:avLst/>
            </a:prstGeom>
          </p:spPr>
          <p:txBody>
            <a:bodyPr vert="horz" wrap="square" lIns="0" tIns="59359" rIns="0" bIns="0" rtlCol="0">
              <a:spAutoFit/>
            </a:bodyPr>
            <a:lstStyle/>
            <a:p>
              <a:pPr marL="361356" marR="0" lvl="0" indent="0" defTabSz="914400" eaLnBrk="1" fontAlgn="base" latinLnBrk="0" hangingPunct="1">
                <a:lnSpc>
                  <a:spcPct val="100000"/>
                </a:lnSpc>
                <a:spcBef>
                  <a:spcPts val="467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NI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33" name="object 132">
              <a:extLst>
                <a:ext uri="{FF2B5EF4-FFF2-40B4-BE49-F238E27FC236}">
                  <a16:creationId xmlns:a16="http://schemas.microsoft.com/office/drawing/2014/main" id="{F68E9BFE-8BFA-4C1A-8C5D-C13483C5D189}"/>
                </a:ext>
              </a:extLst>
            </p:cNvPr>
            <p:cNvGrpSpPr/>
            <p:nvPr/>
          </p:nvGrpSpPr>
          <p:grpSpPr>
            <a:xfrm>
              <a:off x="1987654" y="2398801"/>
              <a:ext cx="8141426" cy="3120678"/>
              <a:chOff x="819911" y="2643123"/>
              <a:chExt cx="8970645" cy="3438525"/>
            </a:xfrm>
          </p:grpSpPr>
          <p:pic>
            <p:nvPicPr>
              <p:cNvPr id="69" name="object 133">
                <a:extLst>
                  <a:ext uri="{FF2B5EF4-FFF2-40B4-BE49-F238E27FC236}">
                    <a16:creationId xmlns:a16="http://schemas.microsoft.com/office/drawing/2014/main" id="{A9A09173-6AB5-48F5-A9F4-EBD5C341BA2C}"/>
                  </a:ext>
                </a:extLst>
              </p:cNvPr>
              <p:cNvPicPr/>
              <p:nvPr/>
            </p:nvPicPr>
            <p:blipFill>
              <a:blip r:embed="rId49" cstate="print"/>
              <a:stretch>
                <a:fillRect/>
              </a:stretch>
            </p:blipFill>
            <p:spPr>
              <a:xfrm>
                <a:off x="5918263" y="2678341"/>
                <a:ext cx="209626" cy="210845"/>
              </a:xfrm>
              <a:prstGeom prst="rect">
                <a:avLst/>
              </a:prstGeom>
            </p:spPr>
          </p:pic>
          <p:pic>
            <p:nvPicPr>
              <p:cNvPr id="70" name="object 134">
                <a:extLst>
                  <a:ext uri="{FF2B5EF4-FFF2-40B4-BE49-F238E27FC236}">
                    <a16:creationId xmlns:a16="http://schemas.microsoft.com/office/drawing/2014/main" id="{DB40DFE9-AC3E-49C3-921B-1B1CDDAC5A5B}"/>
                  </a:ext>
                </a:extLst>
              </p:cNvPr>
              <p:cNvPicPr/>
              <p:nvPr/>
            </p:nvPicPr>
            <p:blipFill>
              <a:blip r:embed="rId50" cstate="print"/>
              <a:stretch>
                <a:fillRect/>
              </a:stretch>
            </p:blipFill>
            <p:spPr>
              <a:xfrm>
                <a:off x="6504432" y="2643123"/>
                <a:ext cx="3285744" cy="304800"/>
              </a:xfrm>
              <a:prstGeom prst="rect">
                <a:avLst/>
              </a:prstGeom>
            </p:spPr>
          </p:pic>
          <p:sp>
            <p:nvSpPr>
              <p:cNvPr id="71" name="object 135">
                <a:extLst>
                  <a:ext uri="{FF2B5EF4-FFF2-40B4-BE49-F238E27FC236}">
                    <a16:creationId xmlns:a16="http://schemas.microsoft.com/office/drawing/2014/main" id="{ED10C9BD-B766-44DE-AC02-98496BDAEB4A}"/>
                  </a:ext>
                </a:extLst>
              </p:cNvPr>
              <p:cNvSpPr/>
              <p:nvPr/>
            </p:nvSpPr>
            <p:spPr>
              <a:xfrm>
                <a:off x="6573659" y="2670136"/>
                <a:ext cx="318897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3188970" h="206375">
                    <a:moveTo>
                      <a:pt x="854189" y="102908"/>
                    </a:moveTo>
                    <a:lnTo>
                      <a:pt x="751255" y="0"/>
                    </a:lnTo>
                    <a:lnTo>
                      <a:pt x="0" y="0"/>
                    </a:lnTo>
                    <a:lnTo>
                      <a:pt x="0" y="205803"/>
                    </a:lnTo>
                    <a:lnTo>
                      <a:pt x="751255" y="205803"/>
                    </a:lnTo>
                    <a:lnTo>
                      <a:pt x="854189" y="102908"/>
                    </a:lnTo>
                    <a:close/>
                  </a:path>
                  <a:path w="3188970" h="206375">
                    <a:moveTo>
                      <a:pt x="1632394" y="102908"/>
                    </a:moveTo>
                    <a:lnTo>
                      <a:pt x="1529461" y="0"/>
                    </a:lnTo>
                    <a:lnTo>
                      <a:pt x="778217" y="0"/>
                    </a:lnTo>
                    <a:lnTo>
                      <a:pt x="881151" y="102908"/>
                    </a:lnTo>
                    <a:lnTo>
                      <a:pt x="778217" y="205803"/>
                    </a:lnTo>
                    <a:lnTo>
                      <a:pt x="1529461" y="205803"/>
                    </a:lnTo>
                    <a:lnTo>
                      <a:pt x="1632394" y="102908"/>
                    </a:lnTo>
                    <a:close/>
                  </a:path>
                  <a:path w="3188970" h="206375">
                    <a:moveTo>
                      <a:pt x="2410599" y="102908"/>
                    </a:moveTo>
                    <a:lnTo>
                      <a:pt x="2307666" y="0"/>
                    </a:lnTo>
                    <a:lnTo>
                      <a:pt x="1556423" y="0"/>
                    </a:lnTo>
                    <a:lnTo>
                      <a:pt x="1659356" y="102908"/>
                    </a:lnTo>
                    <a:lnTo>
                      <a:pt x="1556423" y="205803"/>
                    </a:lnTo>
                    <a:lnTo>
                      <a:pt x="2307666" y="205803"/>
                    </a:lnTo>
                    <a:lnTo>
                      <a:pt x="2410599" y="102908"/>
                    </a:lnTo>
                    <a:close/>
                  </a:path>
                  <a:path w="3188970" h="206375">
                    <a:moveTo>
                      <a:pt x="3188805" y="0"/>
                    </a:moveTo>
                    <a:lnTo>
                      <a:pt x="2974149" y="0"/>
                    </a:lnTo>
                    <a:lnTo>
                      <a:pt x="2334628" y="0"/>
                    </a:lnTo>
                    <a:lnTo>
                      <a:pt x="2437130" y="102476"/>
                    </a:lnTo>
                    <a:lnTo>
                      <a:pt x="2334628" y="204952"/>
                    </a:lnTo>
                    <a:lnTo>
                      <a:pt x="3188805" y="204939"/>
                    </a:lnTo>
                    <a:lnTo>
                      <a:pt x="3188805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72" name="object 136">
                <a:extLst>
                  <a:ext uri="{FF2B5EF4-FFF2-40B4-BE49-F238E27FC236}">
                    <a16:creationId xmlns:a16="http://schemas.microsoft.com/office/drawing/2014/main" id="{CAE5F84D-DD0A-4FA2-A916-2DE7BDB0473D}"/>
                  </a:ext>
                </a:extLst>
              </p:cNvPr>
              <p:cNvSpPr/>
              <p:nvPr/>
            </p:nvSpPr>
            <p:spPr>
              <a:xfrm>
                <a:off x="8908288" y="2670136"/>
                <a:ext cx="854710" cy="205104"/>
              </a:xfrm>
              <a:custGeom>
                <a:avLst/>
                <a:gdLst/>
                <a:ahLst/>
                <a:cxnLst/>
                <a:rect l="l" t="t" r="r" b="b"/>
                <a:pathLst>
                  <a:path w="854709" h="205105">
                    <a:moveTo>
                      <a:pt x="639520" y="0"/>
                    </a:moveTo>
                    <a:lnTo>
                      <a:pt x="854179" y="0"/>
                    </a:lnTo>
                    <a:lnTo>
                      <a:pt x="854179" y="102475"/>
                    </a:lnTo>
                    <a:lnTo>
                      <a:pt x="854179" y="204946"/>
                    </a:lnTo>
                    <a:lnTo>
                      <a:pt x="751677" y="204946"/>
                    </a:lnTo>
                    <a:lnTo>
                      <a:pt x="0" y="204948"/>
                    </a:lnTo>
                    <a:lnTo>
                      <a:pt x="102501" y="102475"/>
                    </a:lnTo>
                    <a:lnTo>
                      <a:pt x="0" y="2"/>
                    </a:lnTo>
                    <a:lnTo>
                      <a:pt x="639520" y="2"/>
                    </a:lnTo>
                    <a:close/>
                  </a:path>
                </a:pathLst>
              </a:custGeom>
              <a:ln w="10818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73" name="object 137">
                <a:extLst>
                  <a:ext uri="{FF2B5EF4-FFF2-40B4-BE49-F238E27FC236}">
                    <a16:creationId xmlns:a16="http://schemas.microsoft.com/office/drawing/2014/main" id="{6FEF4DA6-23EC-462D-BF21-0CBB7B5DAEED}"/>
                  </a:ext>
                </a:extLst>
              </p:cNvPr>
              <p:cNvPicPr/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819911" y="5706363"/>
                <a:ext cx="771144" cy="374904"/>
              </a:xfrm>
              <a:prstGeom prst="rect">
                <a:avLst/>
              </a:prstGeom>
            </p:spPr>
          </p:pic>
          <p:pic>
            <p:nvPicPr>
              <p:cNvPr id="74" name="object 138">
                <a:extLst>
                  <a:ext uri="{FF2B5EF4-FFF2-40B4-BE49-F238E27FC236}">
                    <a16:creationId xmlns:a16="http://schemas.microsoft.com/office/drawing/2014/main" id="{20D3DE3C-7A26-41F6-A0A3-06FB46506331}"/>
                  </a:ext>
                </a:extLst>
              </p:cNvPr>
              <p:cNvPicPr/>
              <p:nvPr/>
            </p:nvPicPr>
            <p:blipFill>
              <a:blip r:embed="rId52" cstate="print"/>
              <a:stretch>
                <a:fillRect/>
              </a:stretch>
            </p:blipFill>
            <p:spPr>
              <a:xfrm>
                <a:off x="1097279" y="5752083"/>
                <a:ext cx="374903" cy="310895"/>
              </a:xfrm>
              <a:prstGeom prst="rect">
                <a:avLst/>
              </a:prstGeom>
            </p:spPr>
          </p:pic>
          <p:sp>
            <p:nvSpPr>
              <p:cNvPr id="75" name="object 139">
                <a:extLst>
                  <a:ext uri="{FF2B5EF4-FFF2-40B4-BE49-F238E27FC236}">
                    <a16:creationId xmlns:a16="http://schemas.microsoft.com/office/drawing/2014/main" id="{7EE234EB-5A71-49BA-BDDF-24D18238E044}"/>
                  </a:ext>
                </a:extLst>
              </p:cNvPr>
              <p:cNvSpPr/>
              <p:nvPr/>
            </p:nvSpPr>
            <p:spPr>
              <a:xfrm>
                <a:off x="886842" y="5728246"/>
                <a:ext cx="683895" cy="285115"/>
              </a:xfrm>
              <a:custGeom>
                <a:avLst/>
                <a:gdLst/>
                <a:ahLst/>
                <a:cxnLst/>
                <a:rect l="l" t="t" r="r" b="b"/>
                <a:pathLst>
                  <a:path w="683894" h="285114">
                    <a:moveTo>
                      <a:pt x="683334" y="0"/>
                    </a:moveTo>
                    <a:lnTo>
                      <a:pt x="0" y="0"/>
                    </a:lnTo>
                    <a:lnTo>
                      <a:pt x="0" y="284645"/>
                    </a:lnTo>
                    <a:lnTo>
                      <a:pt x="683334" y="284645"/>
                    </a:lnTo>
                    <a:lnTo>
                      <a:pt x="683334" y="0"/>
                    </a:lnTo>
                    <a:close/>
                  </a:path>
                </a:pathLst>
              </a:custGeom>
              <a:solidFill>
                <a:srgbClr val="009EE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34" name="object 140">
              <a:extLst>
                <a:ext uri="{FF2B5EF4-FFF2-40B4-BE49-F238E27FC236}">
                  <a16:creationId xmlns:a16="http://schemas.microsoft.com/office/drawing/2014/main" id="{45D33C01-122C-43D3-BCC8-2E1CA04F538F}"/>
                </a:ext>
              </a:extLst>
            </p:cNvPr>
            <p:cNvSpPr txBox="1"/>
            <p:nvPr/>
          </p:nvSpPr>
          <p:spPr>
            <a:xfrm>
              <a:off x="2048398" y="5198744"/>
              <a:ext cx="620678" cy="185096"/>
            </a:xfrm>
            <a:prstGeom prst="rect">
              <a:avLst/>
            </a:prstGeom>
          </p:spPr>
          <p:txBody>
            <a:bodyPr vert="horz" wrap="square" lIns="0" tIns="58782" rIns="0" bIns="0" rtlCol="0">
              <a:spAutoFit/>
            </a:bodyPr>
            <a:lstStyle/>
            <a:p>
              <a:pPr marL="308334" marR="0" lvl="0" indent="0" defTabSz="914400" eaLnBrk="1" fontAlgn="base" latinLnBrk="0" hangingPunct="1">
                <a:lnSpc>
                  <a:spcPct val="100000"/>
                </a:lnSpc>
                <a:spcBef>
                  <a:spcPts val="462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MV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35" name="object 141">
              <a:extLst>
                <a:ext uri="{FF2B5EF4-FFF2-40B4-BE49-F238E27FC236}">
                  <a16:creationId xmlns:a16="http://schemas.microsoft.com/office/drawing/2014/main" id="{EF15F5FA-5083-4D0E-A336-CEDE252B8AB7}"/>
                </a:ext>
              </a:extLst>
            </p:cNvPr>
            <p:cNvGrpSpPr/>
            <p:nvPr/>
          </p:nvGrpSpPr>
          <p:grpSpPr>
            <a:xfrm>
              <a:off x="2048397" y="2049539"/>
              <a:ext cx="3582412" cy="3430867"/>
              <a:chOff x="886841" y="2258288"/>
              <a:chExt cx="3947287" cy="3780307"/>
            </a:xfrm>
          </p:grpSpPr>
          <p:pic>
            <p:nvPicPr>
              <p:cNvPr id="62" name="object 142">
                <a:extLst>
                  <a:ext uri="{FF2B5EF4-FFF2-40B4-BE49-F238E27FC236}">
                    <a16:creationId xmlns:a16="http://schemas.microsoft.com/office/drawing/2014/main" id="{5E7523B5-B2C5-4DF8-A4C6-3FCCEC1607F8}"/>
                  </a:ext>
                </a:extLst>
              </p:cNvPr>
              <p:cNvPicPr/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963990" y="5780658"/>
                <a:ext cx="201681" cy="189763"/>
              </a:xfrm>
              <a:prstGeom prst="rect">
                <a:avLst/>
              </a:prstGeom>
            </p:spPr>
          </p:pic>
          <p:pic>
            <p:nvPicPr>
              <p:cNvPr id="63" name="object 143">
                <a:extLst>
                  <a:ext uri="{FF2B5EF4-FFF2-40B4-BE49-F238E27FC236}">
                    <a16:creationId xmlns:a16="http://schemas.microsoft.com/office/drawing/2014/main" id="{738565AF-6CC1-4453-BDE4-A92AFAACAF94}"/>
                  </a:ext>
                </a:extLst>
              </p:cNvPr>
              <p:cNvPicPr/>
              <p:nvPr/>
            </p:nvPicPr>
            <p:blipFill>
              <a:blip r:embed="rId54" cstate="print"/>
              <a:stretch>
                <a:fillRect/>
              </a:stretch>
            </p:blipFill>
            <p:spPr>
              <a:xfrm>
                <a:off x="1554480" y="5742939"/>
                <a:ext cx="3279648" cy="295656"/>
              </a:xfrm>
              <a:prstGeom prst="rect">
                <a:avLst/>
              </a:prstGeom>
            </p:spPr>
          </p:pic>
          <p:sp>
            <p:nvSpPr>
              <p:cNvPr id="64" name="object 144">
                <a:extLst>
                  <a:ext uri="{FF2B5EF4-FFF2-40B4-BE49-F238E27FC236}">
                    <a16:creationId xmlns:a16="http://schemas.microsoft.com/office/drawing/2014/main" id="{8FB61630-3CDD-493B-B88C-1EC004E2E563}"/>
                  </a:ext>
                </a:extLst>
              </p:cNvPr>
              <p:cNvSpPr/>
              <p:nvPr/>
            </p:nvSpPr>
            <p:spPr>
              <a:xfrm>
                <a:off x="1622920" y="5765926"/>
                <a:ext cx="85471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854710" h="206375">
                    <a:moveTo>
                      <a:pt x="751230" y="0"/>
                    </a:moveTo>
                    <a:lnTo>
                      <a:pt x="0" y="0"/>
                    </a:lnTo>
                    <a:lnTo>
                      <a:pt x="0" y="205803"/>
                    </a:lnTo>
                    <a:lnTo>
                      <a:pt x="751230" y="205803"/>
                    </a:lnTo>
                    <a:lnTo>
                      <a:pt x="854163" y="102895"/>
                    </a:lnTo>
                    <a:lnTo>
                      <a:pt x="751230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65" name="object 145">
                <a:extLst>
                  <a:ext uri="{FF2B5EF4-FFF2-40B4-BE49-F238E27FC236}">
                    <a16:creationId xmlns:a16="http://schemas.microsoft.com/office/drawing/2014/main" id="{01063C7B-9624-4073-AAE5-6572A995A592}"/>
                  </a:ext>
                </a:extLst>
              </p:cNvPr>
              <p:cNvSpPr/>
              <p:nvPr/>
            </p:nvSpPr>
            <p:spPr>
              <a:xfrm>
                <a:off x="2401125" y="5765926"/>
                <a:ext cx="85471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854710" h="206375">
                    <a:moveTo>
                      <a:pt x="751243" y="0"/>
                    </a:moveTo>
                    <a:lnTo>
                      <a:pt x="0" y="0"/>
                    </a:lnTo>
                    <a:lnTo>
                      <a:pt x="102933" y="102895"/>
                    </a:lnTo>
                    <a:lnTo>
                      <a:pt x="0" y="205803"/>
                    </a:lnTo>
                    <a:lnTo>
                      <a:pt x="751243" y="205803"/>
                    </a:lnTo>
                    <a:lnTo>
                      <a:pt x="854176" y="102895"/>
                    </a:lnTo>
                    <a:lnTo>
                      <a:pt x="751243" y="0"/>
                    </a:lnTo>
                    <a:close/>
                  </a:path>
                </a:pathLst>
              </a:custGeom>
              <a:solidFill>
                <a:srgbClr val="8FC0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66" name="object 146">
                <a:extLst>
                  <a:ext uri="{FF2B5EF4-FFF2-40B4-BE49-F238E27FC236}">
                    <a16:creationId xmlns:a16="http://schemas.microsoft.com/office/drawing/2014/main" id="{83B070B2-425A-468E-8E39-E78CA7141190}"/>
                  </a:ext>
                </a:extLst>
              </p:cNvPr>
              <p:cNvSpPr/>
              <p:nvPr/>
            </p:nvSpPr>
            <p:spPr>
              <a:xfrm>
                <a:off x="3179330" y="5765926"/>
                <a:ext cx="85471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854710" h="206375">
                    <a:moveTo>
                      <a:pt x="751243" y="0"/>
                    </a:moveTo>
                    <a:lnTo>
                      <a:pt x="0" y="0"/>
                    </a:lnTo>
                    <a:lnTo>
                      <a:pt x="102933" y="102895"/>
                    </a:lnTo>
                    <a:lnTo>
                      <a:pt x="0" y="205803"/>
                    </a:lnTo>
                    <a:lnTo>
                      <a:pt x="751243" y="205803"/>
                    </a:lnTo>
                    <a:lnTo>
                      <a:pt x="854176" y="102895"/>
                    </a:lnTo>
                    <a:lnTo>
                      <a:pt x="751243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67" name="object 147">
                <a:extLst>
                  <a:ext uri="{FF2B5EF4-FFF2-40B4-BE49-F238E27FC236}">
                    <a16:creationId xmlns:a16="http://schemas.microsoft.com/office/drawing/2014/main" id="{2FCE6128-A65A-4CAF-8DE9-06D293125891}"/>
                  </a:ext>
                </a:extLst>
              </p:cNvPr>
              <p:cNvSpPr/>
              <p:nvPr/>
            </p:nvSpPr>
            <p:spPr>
              <a:xfrm>
                <a:off x="886841" y="2258288"/>
                <a:ext cx="3924935" cy="3712845"/>
              </a:xfrm>
              <a:custGeom>
                <a:avLst/>
                <a:gdLst/>
                <a:ahLst/>
                <a:cxnLst/>
                <a:rect l="l" t="t" r="r" b="b"/>
                <a:pathLst>
                  <a:path w="3924935" h="3712845">
                    <a:moveTo>
                      <a:pt x="2192413" y="147980"/>
                    </a:moveTo>
                    <a:lnTo>
                      <a:pt x="2044395" y="0"/>
                    </a:lnTo>
                    <a:lnTo>
                      <a:pt x="0" y="0"/>
                    </a:lnTo>
                    <a:lnTo>
                      <a:pt x="0" y="295960"/>
                    </a:lnTo>
                    <a:lnTo>
                      <a:pt x="2044395" y="295960"/>
                    </a:lnTo>
                    <a:lnTo>
                      <a:pt x="2192413" y="147980"/>
                    </a:lnTo>
                    <a:close/>
                  </a:path>
                  <a:path w="3924935" h="3712845">
                    <a:moveTo>
                      <a:pt x="3924871" y="3507638"/>
                    </a:moveTo>
                    <a:lnTo>
                      <a:pt x="3710216" y="3507638"/>
                    </a:lnTo>
                    <a:lnTo>
                      <a:pt x="3070695" y="3507638"/>
                    </a:lnTo>
                    <a:lnTo>
                      <a:pt x="3173196" y="3610102"/>
                    </a:lnTo>
                    <a:lnTo>
                      <a:pt x="3070695" y="3712578"/>
                    </a:lnTo>
                    <a:lnTo>
                      <a:pt x="3924871" y="3712578"/>
                    </a:lnTo>
                    <a:lnTo>
                      <a:pt x="3924871" y="3507638"/>
                    </a:lnTo>
                    <a:close/>
                  </a:path>
                </a:pathLst>
              </a:custGeom>
              <a:solidFill>
                <a:srgbClr val="A6A6A6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sp>
            <p:nvSpPr>
              <p:cNvPr id="68" name="object 146">
                <a:extLst>
                  <a:ext uri="{FF2B5EF4-FFF2-40B4-BE49-F238E27FC236}">
                    <a16:creationId xmlns:a16="http://schemas.microsoft.com/office/drawing/2014/main" id="{CC465DAA-3695-4F2C-AC65-A11D5A4C8360}"/>
                  </a:ext>
                </a:extLst>
              </p:cNvPr>
              <p:cNvSpPr/>
              <p:nvPr/>
            </p:nvSpPr>
            <p:spPr>
              <a:xfrm>
                <a:off x="3979416" y="5761251"/>
                <a:ext cx="854710" cy="206375"/>
              </a:xfrm>
              <a:custGeom>
                <a:avLst/>
                <a:gdLst/>
                <a:ahLst/>
                <a:cxnLst/>
                <a:rect l="l" t="t" r="r" b="b"/>
                <a:pathLst>
                  <a:path w="854710" h="206375">
                    <a:moveTo>
                      <a:pt x="751243" y="0"/>
                    </a:moveTo>
                    <a:lnTo>
                      <a:pt x="0" y="0"/>
                    </a:lnTo>
                    <a:lnTo>
                      <a:pt x="102933" y="102895"/>
                    </a:lnTo>
                    <a:lnTo>
                      <a:pt x="0" y="205803"/>
                    </a:lnTo>
                    <a:lnTo>
                      <a:pt x="751243" y="205803"/>
                    </a:lnTo>
                    <a:lnTo>
                      <a:pt x="854176" y="102895"/>
                    </a:lnTo>
                    <a:lnTo>
                      <a:pt x="751243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36" name="object 148">
              <a:extLst>
                <a:ext uri="{FF2B5EF4-FFF2-40B4-BE49-F238E27FC236}">
                  <a16:creationId xmlns:a16="http://schemas.microsoft.com/office/drawing/2014/main" id="{4A08F2F7-78B6-4457-BD54-38C9D57D20BC}"/>
                </a:ext>
              </a:extLst>
            </p:cNvPr>
            <p:cNvSpPr txBox="1"/>
            <p:nvPr/>
          </p:nvSpPr>
          <p:spPr>
            <a:xfrm>
              <a:off x="2360815" y="2106982"/>
              <a:ext cx="1327225" cy="123336"/>
            </a:xfrm>
            <a:prstGeom prst="rect">
              <a:avLst/>
            </a:prstGeom>
          </p:spPr>
          <p:txBody>
            <a:bodyPr vert="horz" wrap="square" lIns="0" tIns="11526" rIns="0" bIns="0" rtlCol="0">
              <a:spAutoFit/>
            </a:bodyPr>
            <a:lstStyle/>
            <a:p>
              <a:pPr marL="11527" marR="0" lvl="0" indent="0" defTabSz="914400" eaLnBrk="1" fontAlgn="base" latinLnBrk="0" hangingPunct="1">
                <a:lnSpc>
                  <a:spcPct val="100000"/>
                </a:lnSpc>
                <a:spcBef>
                  <a:spcPts val="9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1</a:t>
              </a:r>
              <a:r>
                <a:rPr kumimoji="0" sz="726" b="1" i="0" u="none" strike="noStrike" kern="0" cap="none" spc="-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=</a:t>
              </a:r>
              <a:r>
                <a:rPr kumimoji="0" sz="726" b="1" i="0" u="none" strike="noStrike" kern="0" cap="none" spc="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Mitnutzungsinteresse</a:t>
              </a:r>
              <a:r>
                <a:rPr kumimoji="0" sz="726" b="1" i="0" u="none" strike="noStrike" kern="0" cap="none" spc="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bekundet</a:t>
              </a:r>
              <a:endParaRPr kumimoji="0" sz="726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sp>
          <p:nvSpPr>
            <p:cNvPr id="37" name="object 149">
              <a:extLst>
                <a:ext uri="{FF2B5EF4-FFF2-40B4-BE49-F238E27FC236}">
                  <a16:creationId xmlns:a16="http://schemas.microsoft.com/office/drawing/2014/main" id="{B1CBB50E-0198-4354-B83B-C15E5713D27C}"/>
                </a:ext>
              </a:extLst>
            </p:cNvPr>
            <p:cNvSpPr/>
            <p:nvPr/>
          </p:nvSpPr>
          <p:spPr>
            <a:xfrm>
              <a:off x="3964603" y="2049539"/>
              <a:ext cx="1840709" cy="269133"/>
            </a:xfrm>
            <a:custGeom>
              <a:avLst/>
              <a:gdLst/>
              <a:ahLst/>
              <a:cxnLst/>
              <a:rect l="l" t="t" r="r" b="b"/>
              <a:pathLst>
                <a:path w="2028189" h="296544">
                  <a:moveTo>
                    <a:pt x="1879815" y="0"/>
                  </a:moveTo>
                  <a:lnTo>
                    <a:pt x="0" y="0"/>
                  </a:lnTo>
                  <a:lnTo>
                    <a:pt x="148031" y="147980"/>
                  </a:lnTo>
                  <a:lnTo>
                    <a:pt x="0" y="295960"/>
                  </a:lnTo>
                  <a:lnTo>
                    <a:pt x="1879815" y="295960"/>
                  </a:lnTo>
                  <a:lnTo>
                    <a:pt x="2027834" y="147980"/>
                  </a:lnTo>
                  <a:lnTo>
                    <a:pt x="1879815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75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38" name="object 150">
              <a:extLst>
                <a:ext uri="{FF2B5EF4-FFF2-40B4-BE49-F238E27FC236}">
                  <a16:creationId xmlns:a16="http://schemas.microsoft.com/office/drawing/2014/main" id="{FB2BD34A-7C86-4FF7-A43A-5328BB4A63D8}"/>
                </a:ext>
              </a:extLst>
            </p:cNvPr>
            <p:cNvSpPr txBox="1"/>
            <p:nvPr/>
          </p:nvSpPr>
          <p:spPr>
            <a:xfrm>
              <a:off x="4336594" y="2106982"/>
              <a:ext cx="1126095" cy="123336"/>
            </a:xfrm>
            <a:prstGeom prst="rect">
              <a:avLst/>
            </a:prstGeom>
          </p:spPr>
          <p:txBody>
            <a:bodyPr vert="horz" wrap="square" lIns="0" tIns="11526" rIns="0" bIns="0" rtlCol="0">
              <a:spAutoFit/>
            </a:bodyPr>
            <a:lstStyle/>
            <a:p>
              <a:pPr marL="11527" marR="0" lvl="0" indent="0" defTabSz="914400" eaLnBrk="1" fontAlgn="base" latinLnBrk="0" hangingPunct="1">
                <a:lnSpc>
                  <a:spcPct val="100000"/>
                </a:lnSpc>
                <a:spcBef>
                  <a:spcPts val="9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2</a:t>
              </a:r>
              <a:r>
                <a:rPr kumimoji="0" sz="726" b="1" i="0" u="none" strike="noStrike" kern="0" cap="none" spc="-23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=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Letter</a:t>
              </a:r>
              <a:r>
                <a:rPr kumimoji="0" sz="726" b="1" i="0" u="none" strike="noStrike" kern="0" cap="none" spc="-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of</a:t>
              </a:r>
              <a:r>
                <a:rPr kumimoji="0" sz="726" b="1" i="0" u="none" strike="noStrike" kern="0" cap="none" spc="-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Intent</a:t>
              </a:r>
              <a:r>
                <a:rPr kumimoji="0" sz="726" b="1" i="0" u="none" strike="noStrike" kern="0" cap="none" spc="-14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gezeichnet</a:t>
              </a:r>
              <a:endParaRPr kumimoji="0" sz="726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sp>
          <p:nvSpPr>
            <p:cNvPr id="39" name="object 151">
              <a:extLst>
                <a:ext uri="{FF2B5EF4-FFF2-40B4-BE49-F238E27FC236}">
                  <a16:creationId xmlns:a16="http://schemas.microsoft.com/office/drawing/2014/main" id="{F376341F-0AC2-4FCA-BB7B-7F797F91C5E3}"/>
                </a:ext>
              </a:extLst>
            </p:cNvPr>
            <p:cNvSpPr/>
            <p:nvPr/>
          </p:nvSpPr>
          <p:spPr>
            <a:xfrm>
              <a:off x="5731454" y="2049539"/>
              <a:ext cx="2375519" cy="269133"/>
            </a:xfrm>
            <a:custGeom>
              <a:avLst/>
              <a:gdLst/>
              <a:ahLst/>
              <a:cxnLst/>
              <a:rect l="l" t="t" r="r" b="b"/>
              <a:pathLst>
                <a:path w="2617470" h="296544">
                  <a:moveTo>
                    <a:pt x="2468892" y="0"/>
                  </a:moveTo>
                  <a:lnTo>
                    <a:pt x="0" y="0"/>
                  </a:lnTo>
                  <a:lnTo>
                    <a:pt x="148018" y="147980"/>
                  </a:lnTo>
                  <a:lnTo>
                    <a:pt x="0" y="295960"/>
                  </a:lnTo>
                  <a:lnTo>
                    <a:pt x="2468892" y="295960"/>
                  </a:lnTo>
                  <a:lnTo>
                    <a:pt x="2616911" y="147980"/>
                  </a:lnTo>
                  <a:lnTo>
                    <a:pt x="2468892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75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40" name="object 152">
              <a:extLst>
                <a:ext uri="{FF2B5EF4-FFF2-40B4-BE49-F238E27FC236}">
                  <a16:creationId xmlns:a16="http://schemas.microsoft.com/office/drawing/2014/main" id="{028BF145-74A3-471D-BCA2-77FDDCDF7C8D}"/>
                </a:ext>
              </a:extLst>
            </p:cNvPr>
            <p:cNvSpPr txBox="1"/>
            <p:nvPr/>
          </p:nvSpPr>
          <p:spPr>
            <a:xfrm>
              <a:off x="6127074" y="2054424"/>
              <a:ext cx="1611342" cy="224970"/>
            </a:xfrm>
            <a:prstGeom prst="rect">
              <a:avLst/>
            </a:prstGeom>
          </p:spPr>
          <p:txBody>
            <a:bodyPr vert="horz" wrap="square" lIns="0" tIns="19594" rIns="0" bIns="0" rtlCol="0">
              <a:spAutoFit/>
            </a:bodyPr>
            <a:lstStyle/>
            <a:p>
              <a:pPr marL="11527" marR="4611" lvl="0" indent="72617" defTabSz="914400" eaLnBrk="1" fontAlgn="base" latinLnBrk="0" hangingPunct="1">
                <a:lnSpc>
                  <a:spcPts val="826"/>
                </a:lnSpc>
                <a:spcBef>
                  <a:spcPts val="15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3</a:t>
              </a:r>
              <a:r>
                <a:rPr kumimoji="0" sz="726" b="1" i="0" u="none" strike="noStrike" kern="0" cap="none" spc="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=</a:t>
              </a:r>
              <a:r>
                <a:rPr kumimoji="0" sz="726" b="1" i="0" u="none" strike="noStrike" kern="0" cap="none" spc="222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23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Abstimmungsschreiben</a:t>
              </a:r>
              <a:r>
                <a:rPr kumimoji="0" sz="726" b="1" i="0" u="none" strike="noStrike" kern="0" cap="none" spc="27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finalisiert</a:t>
              </a:r>
              <a:r>
                <a:rPr kumimoji="0" sz="726" b="1" i="0" u="none" strike="noStrike" kern="0" cap="none" spc="23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4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/</a:t>
              </a:r>
              <a:r>
                <a:rPr kumimoji="0" sz="726" b="1" i="0" u="none" strike="noStrike" kern="0" cap="none" spc="454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Interessensbekundung</a:t>
              </a:r>
              <a:r>
                <a:rPr kumimoji="0" sz="726" b="1" i="0" u="none" strike="noStrike" kern="0" cap="none" spc="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auf</a:t>
              </a:r>
              <a:r>
                <a:rPr kumimoji="0" sz="726" b="1" i="0" u="none" strike="noStrike" kern="0" cap="none" spc="27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dem</a:t>
              </a:r>
              <a:r>
                <a:rPr kumimoji="0" sz="726" b="1" i="0" u="none" strike="noStrike" kern="0" cap="none" spc="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Marktplatz</a:t>
              </a:r>
              <a:endParaRPr kumimoji="0" sz="726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sp>
          <p:nvSpPr>
            <p:cNvPr id="41" name="object 153">
              <a:extLst>
                <a:ext uri="{FF2B5EF4-FFF2-40B4-BE49-F238E27FC236}">
                  <a16:creationId xmlns:a16="http://schemas.microsoft.com/office/drawing/2014/main" id="{F9449293-B8A6-45E1-9E08-BD7D588BA7D2}"/>
                </a:ext>
              </a:extLst>
            </p:cNvPr>
            <p:cNvSpPr/>
            <p:nvPr/>
          </p:nvSpPr>
          <p:spPr>
            <a:xfrm>
              <a:off x="8032930" y="2050103"/>
              <a:ext cx="2070655" cy="267981"/>
            </a:xfrm>
            <a:custGeom>
              <a:avLst/>
              <a:gdLst/>
              <a:ahLst/>
              <a:cxnLst/>
              <a:rect l="l" t="t" r="r" b="b"/>
              <a:pathLst>
                <a:path w="2281554" h="295275">
                  <a:moveTo>
                    <a:pt x="2281554" y="0"/>
                  </a:moveTo>
                  <a:lnTo>
                    <a:pt x="0" y="0"/>
                  </a:lnTo>
                  <a:lnTo>
                    <a:pt x="140944" y="147358"/>
                  </a:lnTo>
                  <a:lnTo>
                    <a:pt x="0" y="294716"/>
                  </a:lnTo>
                  <a:lnTo>
                    <a:pt x="2281554" y="294716"/>
                  </a:lnTo>
                  <a:lnTo>
                    <a:pt x="2281554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75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42" name="object 154">
              <a:extLst>
                <a:ext uri="{FF2B5EF4-FFF2-40B4-BE49-F238E27FC236}">
                  <a16:creationId xmlns:a16="http://schemas.microsoft.com/office/drawing/2014/main" id="{9428C42B-55CB-42E8-AFEF-7001F20A4DD6}"/>
                </a:ext>
              </a:extLst>
            </p:cNvPr>
            <p:cNvSpPr txBox="1"/>
            <p:nvPr/>
          </p:nvSpPr>
          <p:spPr>
            <a:xfrm>
              <a:off x="8405267" y="2106982"/>
              <a:ext cx="1355464" cy="123336"/>
            </a:xfrm>
            <a:prstGeom prst="rect">
              <a:avLst/>
            </a:prstGeom>
          </p:spPr>
          <p:txBody>
            <a:bodyPr vert="horz" wrap="square" lIns="0" tIns="11526" rIns="0" bIns="0" rtlCol="0">
              <a:spAutoFit/>
            </a:bodyPr>
            <a:lstStyle/>
            <a:p>
              <a:pPr marL="11527" marR="0" lvl="0" indent="0" defTabSz="914400" eaLnBrk="1" fontAlgn="base" latinLnBrk="0" hangingPunct="1">
                <a:lnSpc>
                  <a:spcPct val="100000"/>
                </a:lnSpc>
                <a:spcBef>
                  <a:spcPts val="9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4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= </a:t>
              </a:r>
              <a:r>
                <a:rPr kumimoji="0" sz="726" b="1" i="0" u="none" strike="noStrike" kern="0" cap="none" spc="-18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Nachnutzungsvertrag</a:t>
              </a:r>
              <a:r>
                <a:rPr kumimoji="0" sz="726" b="1" i="0" u="none" strike="noStrike" kern="0" cap="none" spc="-5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726" b="1" i="0" u="none" strike="noStrike" kern="0" cap="none" spc="-9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gezeichnet</a:t>
              </a:r>
              <a:endParaRPr kumimoji="0" sz="726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sp>
          <p:nvSpPr>
            <p:cNvPr id="43" name="object 155">
              <a:extLst>
                <a:ext uri="{FF2B5EF4-FFF2-40B4-BE49-F238E27FC236}">
                  <a16:creationId xmlns:a16="http://schemas.microsoft.com/office/drawing/2014/main" id="{A38BF0DE-E02E-4731-B67D-780D67426E42}"/>
                </a:ext>
              </a:extLst>
            </p:cNvPr>
            <p:cNvSpPr txBox="1"/>
            <p:nvPr/>
          </p:nvSpPr>
          <p:spPr>
            <a:xfrm>
              <a:off x="6540710" y="5246289"/>
              <a:ext cx="1099585" cy="145525"/>
            </a:xfrm>
            <a:prstGeom prst="rect">
              <a:avLst/>
            </a:prstGeom>
            <a:solidFill>
              <a:srgbClr val="00B050"/>
            </a:solidFill>
          </p:spPr>
          <p:txBody>
            <a:bodyPr vert="horz" wrap="square" lIns="0" tIns="19594" rIns="0" bIns="0" rtlCol="0">
              <a:spAutoFit/>
            </a:bodyPr>
            <a:lstStyle/>
            <a:p>
              <a:pPr marL="307182" marR="0" lvl="0" indent="0" defTabSz="914400" eaLnBrk="1" fontAlgn="base" latinLnBrk="0" hangingPunct="1">
                <a:lnSpc>
                  <a:spcPct val="100000"/>
                </a:lnSpc>
                <a:spcBef>
                  <a:spcPts val="15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Stufe</a:t>
              </a:r>
              <a:r>
                <a:rPr kumimoji="0" sz="817" b="1" i="0" u="none" strike="noStrike" kern="0" cap="none" spc="-3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817" b="1" i="0" u="none" strike="noStrike" kern="0" cap="none" spc="-9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erfüllt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44" name="object 156">
              <a:extLst>
                <a:ext uri="{FF2B5EF4-FFF2-40B4-BE49-F238E27FC236}">
                  <a16:creationId xmlns:a16="http://schemas.microsoft.com/office/drawing/2014/main" id="{C058079E-12E1-493C-827E-9B457506FADB}"/>
                </a:ext>
              </a:extLst>
            </p:cNvPr>
            <p:cNvGrpSpPr/>
            <p:nvPr/>
          </p:nvGrpSpPr>
          <p:grpSpPr>
            <a:xfrm>
              <a:off x="5362481" y="2349009"/>
              <a:ext cx="4827110" cy="3089558"/>
              <a:chOff x="4538471" y="2588260"/>
              <a:chExt cx="5318760" cy="3404235"/>
            </a:xfrm>
          </p:grpSpPr>
          <p:pic>
            <p:nvPicPr>
              <p:cNvPr id="54" name="object 157">
                <a:extLst>
                  <a:ext uri="{FF2B5EF4-FFF2-40B4-BE49-F238E27FC236}">
                    <a16:creationId xmlns:a16="http://schemas.microsoft.com/office/drawing/2014/main" id="{072C0337-8C01-4C5D-BC75-CF77EAEF4443}"/>
                  </a:ext>
                </a:extLst>
              </p:cNvPr>
              <p:cNvPicPr/>
              <p:nvPr/>
            </p:nvPicPr>
            <p:blipFill>
              <a:blip r:embed="rId55" cstate="print"/>
              <a:stretch>
                <a:fillRect/>
              </a:stretch>
            </p:blipFill>
            <p:spPr>
              <a:xfrm>
                <a:off x="4541519" y="5249164"/>
                <a:ext cx="359663" cy="359663"/>
              </a:xfrm>
              <a:prstGeom prst="rect">
                <a:avLst/>
              </a:prstGeom>
            </p:spPr>
          </p:pic>
          <p:pic>
            <p:nvPicPr>
              <p:cNvPr id="55" name="object 158">
                <a:extLst>
                  <a:ext uri="{FF2B5EF4-FFF2-40B4-BE49-F238E27FC236}">
                    <a16:creationId xmlns:a16="http://schemas.microsoft.com/office/drawing/2014/main" id="{F1031E0D-4869-4979-841E-CE0EFB4EE0EE}"/>
                  </a:ext>
                </a:extLst>
              </p:cNvPr>
              <p:cNvPicPr/>
              <p:nvPr/>
            </p:nvPicPr>
            <p:blipFill>
              <a:blip r:embed="rId56" cstate="print"/>
              <a:stretch>
                <a:fillRect/>
              </a:stretch>
            </p:blipFill>
            <p:spPr>
              <a:xfrm>
                <a:off x="9494519" y="4362195"/>
                <a:ext cx="362711" cy="362712"/>
              </a:xfrm>
              <a:prstGeom prst="rect">
                <a:avLst/>
              </a:prstGeom>
            </p:spPr>
          </p:pic>
          <p:pic>
            <p:nvPicPr>
              <p:cNvPr id="56" name="object 159">
                <a:extLst>
                  <a:ext uri="{FF2B5EF4-FFF2-40B4-BE49-F238E27FC236}">
                    <a16:creationId xmlns:a16="http://schemas.microsoft.com/office/drawing/2014/main" id="{05C07354-BD1C-4652-A6CB-8A57A36F4857}"/>
                  </a:ext>
                </a:extLst>
              </p:cNvPr>
              <p:cNvPicPr/>
              <p:nvPr/>
            </p:nvPicPr>
            <p:blipFill>
              <a:blip r:embed="rId57" cstate="print"/>
              <a:stretch>
                <a:fillRect/>
              </a:stretch>
            </p:blipFill>
            <p:spPr>
              <a:xfrm>
                <a:off x="9491471" y="3914140"/>
                <a:ext cx="359664" cy="359663"/>
              </a:xfrm>
              <a:prstGeom prst="rect">
                <a:avLst/>
              </a:prstGeom>
            </p:spPr>
          </p:pic>
          <p:pic>
            <p:nvPicPr>
              <p:cNvPr id="57" name="object 160">
                <a:extLst>
                  <a:ext uri="{FF2B5EF4-FFF2-40B4-BE49-F238E27FC236}">
                    <a16:creationId xmlns:a16="http://schemas.microsoft.com/office/drawing/2014/main" id="{B4354A8B-93A6-4B28-8A59-359C3188894A}"/>
                  </a:ext>
                </a:extLst>
              </p:cNvPr>
              <p:cNvPicPr/>
              <p:nvPr/>
            </p:nvPicPr>
            <p:blipFill>
              <a:blip r:embed="rId58" cstate="print"/>
              <a:stretch>
                <a:fillRect/>
              </a:stretch>
            </p:blipFill>
            <p:spPr>
              <a:xfrm>
                <a:off x="9491471" y="3027172"/>
                <a:ext cx="359664" cy="362712"/>
              </a:xfrm>
              <a:prstGeom prst="rect">
                <a:avLst/>
              </a:prstGeom>
            </p:spPr>
          </p:pic>
          <p:pic>
            <p:nvPicPr>
              <p:cNvPr id="58" name="object 161">
                <a:extLst>
                  <a:ext uri="{FF2B5EF4-FFF2-40B4-BE49-F238E27FC236}">
                    <a16:creationId xmlns:a16="http://schemas.microsoft.com/office/drawing/2014/main" id="{5C4D8710-8EF6-4F97-9522-E1A870E305C4}"/>
                  </a:ext>
                </a:extLst>
              </p:cNvPr>
              <p:cNvPicPr/>
              <p:nvPr/>
            </p:nvPicPr>
            <p:blipFill>
              <a:blip r:embed="rId59" cstate="print"/>
              <a:stretch>
                <a:fillRect/>
              </a:stretch>
            </p:blipFill>
            <p:spPr>
              <a:xfrm>
                <a:off x="4541519" y="4359148"/>
                <a:ext cx="359663" cy="362712"/>
              </a:xfrm>
              <a:prstGeom prst="rect">
                <a:avLst/>
              </a:prstGeom>
            </p:spPr>
          </p:pic>
          <p:pic>
            <p:nvPicPr>
              <p:cNvPr id="59" name="object 162">
                <a:extLst>
                  <a:ext uri="{FF2B5EF4-FFF2-40B4-BE49-F238E27FC236}">
                    <a16:creationId xmlns:a16="http://schemas.microsoft.com/office/drawing/2014/main" id="{30B374AE-978A-46DF-92E4-A3C20900CC00}"/>
                  </a:ext>
                </a:extLst>
              </p:cNvPr>
              <p:cNvPicPr/>
              <p:nvPr/>
            </p:nvPicPr>
            <p:blipFill>
              <a:blip r:embed="rId60" cstate="print"/>
              <a:stretch>
                <a:fillRect/>
              </a:stretch>
            </p:blipFill>
            <p:spPr>
              <a:xfrm>
                <a:off x="4538471" y="2588260"/>
                <a:ext cx="359663" cy="362712"/>
              </a:xfrm>
              <a:prstGeom prst="rect">
                <a:avLst/>
              </a:prstGeom>
            </p:spPr>
          </p:pic>
          <p:pic>
            <p:nvPicPr>
              <p:cNvPr id="60" name="object 163">
                <a:extLst>
                  <a:ext uri="{FF2B5EF4-FFF2-40B4-BE49-F238E27FC236}">
                    <a16:creationId xmlns:a16="http://schemas.microsoft.com/office/drawing/2014/main" id="{7759CED8-1082-4C31-87EF-B01D4FE0396E}"/>
                  </a:ext>
                </a:extLst>
              </p:cNvPr>
              <p:cNvPicPr/>
              <p:nvPr/>
            </p:nvPicPr>
            <p:blipFill>
              <a:blip r:embed="rId61" cstate="print"/>
              <a:stretch>
                <a:fillRect/>
              </a:stretch>
            </p:blipFill>
            <p:spPr>
              <a:xfrm>
                <a:off x="9491471" y="5236972"/>
                <a:ext cx="359664" cy="362712"/>
              </a:xfrm>
              <a:prstGeom prst="rect">
                <a:avLst/>
              </a:prstGeom>
            </p:spPr>
          </p:pic>
          <p:sp>
            <p:nvSpPr>
              <p:cNvPr id="61" name="object 164">
                <a:extLst>
                  <a:ext uri="{FF2B5EF4-FFF2-40B4-BE49-F238E27FC236}">
                    <a16:creationId xmlns:a16="http://schemas.microsoft.com/office/drawing/2014/main" id="{E95D584F-5C67-48E7-B161-87F9EC5376CD}"/>
                  </a:ext>
                </a:extLst>
              </p:cNvPr>
              <p:cNvSpPr/>
              <p:nvPr/>
            </p:nvSpPr>
            <p:spPr>
              <a:xfrm>
                <a:off x="7357859" y="5786640"/>
                <a:ext cx="1211580" cy="205740"/>
              </a:xfrm>
              <a:custGeom>
                <a:avLst/>
                <a:gdLst/>
                <a:ahLst/>
                <a:cxnLst/>
                <a:rect l="l" t="t" r="r" b="b"/>
                <a:pathLst>
                  <a:path w="1211579" h="205739">
                    <a:moveTo>
                      <a:pt x="1211072" y="0"/>
                    </a:moveTo>
                    <a:lnTo>
                      <a:pt x="0" y="0"/>
                    </a:lnTo>
                    <a:lnTo>
                      <a:pt x="0" y="205384"/>
                    </a:lnTo>
                    <a:lnTo>
                      <a:pt x="1211072" y="205384"/>
                    </a:lnTo>
                    <a:lnTo>
                      <a:pt x="1211072" y="0"/>
                    </a:lnTo>
                    <a:close/>
                  </a:path>
                </a:pathLst>
              </a:custGeom>
              <a:solidFill>
                <a:srgbClr val="00B050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45" name="object 165">
              <a:extLst>
                <a:ext uri="{FF2B5EF4-FFF2-40B4-BE49-F238E27FC236}">
                  <a16:creationId xmlns:a16="http://schemas.microsoft.com/office/drawing/2014/main" id="{51F4CDBF-69B2-4A39-B943-507D0E124446}"/>
                </a:ext>
              </a:extLst>
            </p:cNvPr>
            <p:cNvSpPr txBox="1"/>
            <p:nvPr/>
          </p:nvSpPr>
          <p:spPr>
            <a:xfrm>
              <a:off x="8172441" y="5260052"/>
              <a:ext cx="625288" cy="137379"/>
            </a:xfrm>
            <a:prstGeom prst="rect">
              <a:avLst/>
            </a:prstGeom>
          </p:spPr>
          <p:txBody>
            <a:bodyPr vert="horz" wrap="square" lIns="0" tIns="11526" rIns="0" bIns="0" rtlCol="0">
              <a:spAutoFit/>
            </a:bodyPr>
            <a:lstStyle/>
            <a:p>
              <a:pPr marL="11527" marR="0" lvl="0" indent="0" defTabSz="914400" eaLnBrk="1" fontAlgn="base" latinLnBrk="0" hangingPunct="1">
                <a:lnSpc>
                  <a:spcPct val="100000"/>
                </a:lnSpc>
                <a:spcBef>
                  <a:spcPts val="9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817" b="1" i="0" u="none" strike="noStrike" kern="0" cap="none" spc="-9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Mitglied</a:t>
              </a:r>
              <a:r>
                <a:rPr kumimoji="0" sz="817" b="1" i="0" u="none" strike="noStrike" kern="0" cap="none" spc="14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 </a:t>
              </a:r>
              <a:r>
                <a:rPr kumimoji="0" sz="817" b="1" i="0" u="none" strike="noStrike" kern="0" cap="none" spc="-23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rlito"/>
                  <a:ea typeface="ＭＳ Ｐゴシック"/>
                  <a:cs typeface="Carlito"/>
                </a:rPr>
                <a:t>MNA</a:t>
              </a:r>
              <a:endParaRPr kumimoji="0" sz="817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Carlito"/>
                <a:ea typeface="ＭＳ Ｐゴシック"/>
                <a:cs typeface="Carlito"/>
              </a:endParaRPr>
            </a:p>
          </p:txBody>
        </p:sp>
        <p:grpSp>
          <p:nvGrpSpPr>
            <p:cNvPr id="46" name="object 166">
              <a:extLst>
                <a:ext uri="{FF2B5EF4-FFF2-40B4-BE49-F238E27FC236}">
                  <a16:creationId xmlns:a16="http://schemas.microsoft.com/office/drawing/2014/main" id="{0F43A478-133F-49B2-B5E3-93E9A8C9B542}"/>
                </a:ext>
              </a:extLst>
            </p:cNvPr>
            <p:cNvGrpSpPr/>
            <p:nvPr/>
          </p:nvGrpSpPr>
          <p:grpSpPr>
            <a:xfrm>
              <a:off x="1381846" y="1753688"/>
              <a:ext cx="9428309" cy="3754611"/>
              <a:chOff x="152400" y="1932304"/>
              <a:chExt cx="10388600" cy="4137025"/>
            </a:xfrm>
          </p:grpSpPr>
          <p:pic>
            <p:nvPicPr>
              <p:cNvPr id="51" name="object 167">
                <a:extLst>
                  <a:ext uri="{FF2B5EF4-FFF2-40B4-BE49-F238E27FC236}">
                    <a16:creationId xmlns:a16="http://schemas.microsoft.com/office/drawing/2014/main" id="{D1076861-EED1-480A-AE2A-B292143F35C5}"/>
                  </a:ext>
                </a:extLst>
              </p:cNvPr>
              <p:cNvPicPr/>
              <p:nvPr/>
            </p:nvPicPr>
            <p:blipFill>
              <a:blip r:embed="rId62" cstate="print"/>
              <a:stretch>
                <a:fillRect/>
              </a:stretch>
            </p:blipFill>
            <p:spPr>
              <a:xfrm>
                <a:off x="7257288" y="5709411"/>
                <a:ext cx="362711" cy="359663"/>
              </a:xfrm>
              <a:prstGeom prst="rect">
                <a:avLst/>
              </a:prstGeom>
            </p:spPr>
          </p:pic>
          <p:pic>
            <p:nvPicPr>
              <p:cNvPr id="52" name="object 168">
                <a:extLst>
                  <a:ext uri="{FF2B5EF4-FFF2-40B4-BE49-F238E27FC236}">
                    <a16:creationId xmlns:a16="http://schemas.microsoft.com/office/drawing/2014/main" id="{55FAFA96-F595-4594-A2F0-335AD21BB72F}"/>
                  </a:ext>
                </a:extLst>
              </p:cNvPr>
              <p:cNvPicPr/>
              <p:nvPr/>
            </p:nvPicPr>
            <p:blipFill>
              <a:blip r:embed="rId63" cstate="print"/>
              <a:stretch>
                <a:fillRect/>
              </a:stretch>
            </p:blipFill>
            <p:spPr>
              <a:xfrm>
                <a:off x="4544567" y="4813300"/>
                <a:ext cx="359663" cy="362712"/>
              </a:xfrm>
              <a:prstGeom prst="rect">
                <a:avLst/>
              </a:prstGeom>
            </p:spPr>
          </p:pic>
          <p:sp>
            <p:nvSpPr>
              <p:cNvPr id="53" name="object 169">
                <a:extLst>
                  <a:ext uri="{FF2B5EF4-FFF2-40B4-BE49-F238E27FC236}">
                    <a16:creationId xmlns:a16="http://schemas.microsoft.com/office/drawing/2014/main" id="{8C981A99-700C-452B-8F91-2C1C31164C08}"/>
                  </a:ext>
                </a:extLst>
              </p:cNvPr>
              <p:cNvSpPr/>
              <p:nvPr/>
            </p:nvSpPr>
            <p:spPr>
              <a:xfrm>
                <a:off x="152400" y="1932304"/>
                <a:ext cx="10388600" cy="270510"/>
              </a:xfrm>
              <a:custGeom>
                <a:avLst/>
                <a:gdLst/>
                <a:ahLst/>
                <a:cxnLst/>
                <a:rect l="l" t="t" r="r" b="b"/>
                <a:pathLst>
                  <a:path w="10388600" h="270510">
                    <a:moveTo>
                      <a:pt x="10388600" y="0"/>
                    </a:moveTo>
                    <a:lnTo>
                      <a:pt x="0" y="0"/>
                    </a:lnTo>
                    <a:lnTo>
                      <a:pt x="0" y="270383"/>
                    </a:lnTo>
                    <a:lnTo>
                      <a:pt x="10388600" y="270383"/>
                    </a:lnTo>
                    <a:lnTo>
                      <a:pt x="10388600" y="0"/>
                    </a:lnTo>
                    <a:close/>
                  </a:path>
                </a:pathLst>
              </a:custGeom>
              <a:solidFill>
                <a:srgbClr val="05253A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75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</p:grpSp>
        <p:sp>
          <p:nvSpPr>
            <p:cNvPr id="47" name="object 170">
              <a:extLst>
                <a:ext uri="{FF2B5EF4-FFF2-40B4-BE49-F238E27FC236}">
                  <a16:creationId xmlns:a16="http://schemas.microsoft.com/office/drawing/2014/main" id="{F21E058D-BEB6-45EE-A320-537DE686942E}"/>
                </a:ext>
              </a:extLst>
            </p:cNvPr>
            <p:cNvSpPr txBox="1"/>
            <p:nvPr/>
          </p:nvSpPr>
          <p:spPr>
            <a:xfrm>
              <a:off x="3839211" y="1781499"/>
              <a:ext cx="4515330" cy="179249"/>
            </a:xfrm>
            <a:prstGeom prst="rect">
              <a:avLst/>
            </a:prstGeom>
          </p:spPr>
          <p:txBody>
            <a:bodyPr vert="horz" wrap="square" lIns="0" tIns="11526" rIns="0" bIns="0" rtlCol="0">
              <a:spAutoFit/>
            </a:bodyPr>
            <a:lstStyle/>
            <a:p>
              <a:pPr marL="11527" marR="0" lvl="0" indent="0" defTabSz="914400" eaLnBrk="1" fontAlgn="base" latinLnBrk="0" hangingPunct="1">
                <a:lnSpc>
                  <a:spcPct val="100000"/>
                </a:lnSpc>
                <a:spcBef>
                  <a:spcPts val="9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8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Wie</a:t>
              </a:r>
              <a:r>
                <a:rPr kumimoji="0" sz="1089" b="1" i="0" u="none" strike="noStrike" kern="0" cap="none" spc="-3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ist</a:t>
              </a:r>
              <a:r>
                <a:rPr kumimoji="0" sz="1089" b="1" i="0" u="none" strike="noStrike" kern="0" cap="none" spc="-23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der</a:t>
              </a:r>
              <a:r>
                <a:rPr kumimoji="0" sz="1089" b="1" i="0" u="none" strike="noStrike" kern="0" cap="none" spc="-18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Stand</a:t>
              </a:r>
              <a:r>
                <a:rPr kumimoji="0" sz="1089" b="1" i="0" u="none" strike="noStrike" kern="0" cap="none" spc="-27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der</a:t>
              </a:r>
              <a:r>
                <a:rPr kumimoji="0" sz="1089" b="1" i="0" u="none" strike="noStrike" kern="0" cap="none" spc="-23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-18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Vertragszeichnung</a:t>
              </a:r>
              <a:r>
                <a:rPr kumimoji="0" sz="1089" b="1" i="0" u="none" strike="noStrike" kern="0" cap="none" spc="-27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bei</a:t>
              </a:r>
              <a:r>
                <a:rPr kumimoji="0" sz="1089" b="1" i="0" u="none" strike="noStrike" kern="0" cap="none" spc="-23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den</a:t>
              </a:r>
              <a:r>
                <a:rPr kumimoji="0" sz="1089" b="1" i="0" u="none" strike="noStrike" kern="0" cap="none" spc="-27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-9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restlichen</a:t>
              </a:r>
              <a:r>
                <a:rPr kumimoji="0" sz="1089" b="1" i="0" u="none" strike="noStrike" kern="0" cap="none" spc="-3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 </a:t>
              </a:r>
              <a:r>
                <a:rPr kumimoji="0" sz="1089" b="1" i="0" u="none" strike="noStrike" kern="0" cap="none" spc="-9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Ländern</a:t>
              </a:r>
              <a:r>
                <a:rPr kumimoji="0" sz="1089" b="1" i="0" u="none" strike="noStrike" kern="0" cap="none" spc="-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  <a:cs typeface="Arial"/>
                </a:rPr>
                <a:t>?</a:t>
              </a:r>
              <a:endParaRPr kumimoji="0" sz="1089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ea typeface="ＭＳ Ｐゴシック"/>
                <a:cs typeface="Arial"/>
              </a:endParaRPr>
            </a:p>
          </p:txBody>
        </p:sp>
        <p:grpSp>
          <p:nvGrpSpPr>
            <p:cNvPr id="48" name="object 171">
              <a:extLst>
                <a:ext uri="{FF2B5EF4-FFF2-40B4-BE49-F238E27FC236}">
                  <a16:creationId xmlns:a16="http://schemas.microsoft.com/office/drawing/2014/main" id="{30A3025D-B04D-421C-B1F8-F5DDD1078B86}"/>
                </a:ext>
              </a:extLst>
            </p:cNvPr>
            <p:cNvGrpSpPr/>
            <p:nvPr/>
          </p:nvGrpSpPr>
          <p:grpSpPr>
            <a:xfrm>
              <a:off x="9860407" y="2340710"/>
              <a:ext cx="329645" cy="1147995"/>
              <a:chOff x="9494519" y="2579116"/>
              <a:chExt cx="363220" cy="1264920"/>
            </a:xfrm>
          </p:grpSpPr>
          <p:pic>
            <p:nvPicPr>
              <p:cNvPr id="49" name="object 172">
                <a:extLst>
                  <a:ext uri="{FF2B5EF4-FFF2-40B4-BE49-F238E27FC236}">
                    <a16:creationId xmlns:a16="http://schemas.microsoft.com/office/drawing/2014/main" id="{1F704773-19E2-438F-AF9E-3E5B5EA6AA57}"/>
                  </a:ext>
                </a:extLst>
              </p:cNvPr>
              <p:cNvPicPr/>
              <p:nvPr/>
            </p:nvPicPr>
            <p:blipFill>
              <a:blip r:embed="rId64" cstate="print"/>
              <a:stretch>
                <a:fillRect/>
              </a:stretch>
            </p:blipFill>
            <p:spPr>
              <a:xfrm>
                <a:off x="9494519" y="3481324"/>
                <a:ext cx="362711" cy="362712"/>
              </a:xfrm>
              <a:prstGeom prst="rect">
                <a:avLst/>
              </a:prstGeom>
            </p:spPr>
          </p:pic>
          <p:pic>
            <p:nvPicPr>
              <p:cNvPr id="50" name="object 173">
                <a:extLst>
                  <a:ext uri="{FF2B5EF4-FFF2-40B4-BE49-F238E27FC236}">
                    <a16:creationId xmlns:a16="http://schemas.microsoft.com/office/drawing/2014/main" id="{976158F6-DBC8-4F2E-A17B-DA3CD622D143}"/>
                  </a:ext>
                </a:extLst>
              </p:cNvPr>
              <p:cNvPicPr/>
              <p:nvPr/>
            </p:nvPicPr>
            <p:blipFill>
              <a:blip r:embed="rId65" cstate="print"/>
              <a:stretch>
                <a:fillRect/>
              </a:stretch>
            </p:blipFill>
            <p:spPr>
              <a:xfrm>
                <a:off x="9494519" y="2579116"/>
                <a:ext cx="362711" cy="362712"/>
              </a:xfrm>
              <a:prstGeom prst="rect">
                <a:avLst/>
              </a:prstGeom>
            </p:spPr>
          </p:pic>
        </p:grpSp>
      </p:grpSp>
      <p:pic>
        <p:nvPicPr>
          <p:cNvPr id="156" name="Grafik 155">
            <a:extLst>
              <a:ext uri="{FF2B5EF4-FFF2-40B4-BE49-F238E27FC236}">
                <a16:creationId xmlns:a16="http://schemas.microsoft.com/office/drawing/2014/main" id="{1B3920F3-95A0-464B-BB9E-978921411790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54299" y="6409389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540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6B9649-37E7-4DDF-A962-CD0360268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694788"/>
            <a:ext cx="11731624" cy="477404"/>
          </a:xfrm>
        </p:spPr>
        <p:txBody>
          <a:bodyPr/>
          <a:lstStyle/>
          <a:p>
            <a:r>
              <a:rPr lang="de-DE" sz="2400" dirty="0"/>
              <a:t>Online-Dienste im WSP.NRW &amp; </a:t>
            </a:r>
            <a:r>
              <a:rPr lang="de-DE" dirty="0">
                <a:sym typeface="+mn-lt"/>
              </a:rPr>
              <a:t>Vorteile des EfA-Prinzip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852D923-DB87-4FB4-8076-AEA9FD3C194D}"/>
              </a:ext>
            </a:extLst>
          </p:cNvPr>
          <p:cNvGrpSpPr/>
          <p:nvPr/>
        </p:nvGrpSpPr>
        <p:grpSpPr>
          <a:xfrm>
            <a:off x="705835" y="1516134"/>
            <a:ext cx="10638625" cy="4469158"/>
            <a:chOff x="334174" y="1090193"/>
            <a:chExt cx="11150690" cy="5201868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441D631B-8FC9-4500-BCF4-371858B3B2FA}"/>
                </a:ext>
              </a:extLst>
            </p:cNvPr>
            <p:cNvSpPr/>
            <p:nvPr/>
          </p:nvSpPr>
          <p:spPr>
            <a:xfrm>
              <a:off x="410581" y="3834007"/>
              <a:ext cx="3306560" cy="2332063"/>
            </a:xfrm>
            <a:prstGeom prst="rect">
              <a:avLst/>
            </a:prstGeom>
            <a:solidFill>
              <a:srgbClr val="05253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666DF07-25E6-4B76-A26F-34C3BDBFB63B}"/>
                </a:ext>
              </a:extLst>
            </p:cNvPr>
            <p:cNvSpPr/>
            <p:nvPr/>
          </p:nvSpPr>
          <p:spPr>
            <a:xfrm>
              <a:off x="412581" y="4168061"/>
              <a:ext cx="3304560" cy="2124000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4ED296FA-2679-4068-A7B8-270F2BE37156}"/>
                </a:ext>
              </a:extLst>
            </p:cNvPr>
            <p:cNvSpPr/>
            <p:nvPr/>
          </p:nvSpPr>
          <p:spPr>
            <a:xfrm>
              <a:off x="334174" y="3822995"/>
              <a:ext cx="3173313" cy="36068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LeiKa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-Leistungen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D4C805B-A446-4CA4-9A60-48C43D2A21A8}"/>
                </a:ext>
              </a:extLst>
            </p:cNvPr>
            <p:cNvSpPr/>
            <p:nvPr/>
          </p:nvSpPr>
          <p:spPr>
            <a:xfrm>
              <a:off x="3958254" y="1434216"/>
              <a:ext cx="7526610" cy="4857845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5D77AB4-C8E0-4FD7-82DF-00874AFA742C}"/>
                </a:ext>
              </a:extLst>
            </p:cNvPr>
            <p:cNvSpPr/>
            <p:nvPr/>
          </p:nvSpPr>
          <p:spPr>
            <a:xfrm>
              <a:off x="411523" y="1093875"/>
              <a:ext cx="3305617" cy="2332063"/>
            </a:xfrm>
            <a:prstGeom prst="rect">
              <a:avLst/>
            </a:prstGeom>
            <a:solidFill>
              <a:srgbClr val="05253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4797BF0-6B3A-48EF-893E-6DDE16C325B6}"/>
                </a:ext>
              </a:extLst>
            </p:cNvPr>
            <p:cNvSpPr/>
            <p:nvPr/>
          </p:nvSpPr>
          <p:spPr>
            <a:xfrm>
              <a:off x="412582" y="1427929"/>
              <a:ext cx="3304560" cy="2124000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01340A6A-5CB4-4055-A19A-87E37860FAE4}"/>
                </a:ext>
              </a:extLst>
            </p:cNvPr>
            <p:cNvSpPr txBox="1"/>
            <p:nvPr/>
          </p:nvSpPr>
          <p:spPr bwMode="gray">
            <a:xfrm>
              <a:off x="3977597" y="1132452"/>
              <a:ext cx="3082295" cy="28946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2448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Vorteile des EfA-Prinzips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1B99334-ABB4-42F6-8EF7-7A5345D7A7BA}"/>
                </a:ext>
              </a:extLst>
            </p:cNvPr>
            <p:cNvSpPr/>
            <p:nvPr/>
          </p:nvSpPr>
          <p:spPr>
            <a:xfrm>
              <a:off x="334175" y="1090193"/>
              <a:ext cx="2623041" cy="24869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Online Dienste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26B27DCD-99AB-4882-A027-CB26816BDB2D}"/>
                </a:ext>
              </a:extLst>
            </p:cNvPr>
            <p:cNvSpPr txBox="1"/>
            <p:nvPr/>
          </p:nvSpPr>
          <p:spPr bwMode="gray">
            <a:xfrm>
              <a:off x="412581" y="1566196"/>
              <a:ext cx="146249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Bold"/>
                  <a:ea typeface="ＭＳ Ｐゴシック"/>
                </a:rPr>
                <a:t>87</a:t>
              </a:r>
              <a:endParaRPr kumimoji="0" lang="de-DE" sz="54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Bold"/>
                <a:ea typeface="ＭＳ Ｐゴシック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CEDC9825-C1D9-40C9-BD0B-5D1938256679}"/>
                </a:ext>
              </a:extLst>
            </p:cNvPr>
            <p:cNvSpPr txBox="1"/>
            <p:nvPr/>
          </p:nvSpPr>
          <p:spPr bwMode="gray">
            <a:xfrm>
              <a:off x="634993" y="2625780"/>
              <a:ext cx="3020515" cy="967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Online Dienste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stehen derzeit im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im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WSP.NRW zur Verfügung.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2A087B39-0641-42B3-AF75-0EA0872AA7B4}"/>
                </a:ext>
              </a:extLst>
            </p:cNvPr>
            <p:cNvSpPr txBox="1"/>
            <p:nvPr/>
          </p:nvSpPr>
          <p:spPr bwMode="gray">
            <a:xfrm>
              <a:off x="641952" y="4309671"/>
              <a:ext cx="2121899" cy="1182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Bold"/>
                  <a:ea typeface="ＭＳ Ｐゴシック"/>
                </a:rPr>
                <a:t>478</a:t>
              </a:r>
              <a:endParaRPr kumimoji="0" lang="de-DE" sz="54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Bold"/>
                <a:ea typeface="ＭＳ Ｐゴシック"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3238503-32D7-41C3-B960-60D124F5A732}"/>
                </a:ext>
              </a:extLst>
            </p:cNvPr>
            <p:cNvSpPr txBox="1"/>
            <p:nvPr/>
          </p:nvSpPr>
          <p:spPr bwMode="gray">
            <a:xfrm>
              <a:off x="493927" y="5388743"/>
              <a:ext cx="3122512" cy="680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LeiKa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-Leistungen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hat NRW damit insgesamt veröffentlicht.</a:t>
              </a:r>
            </a:p>
          </p:txBody>
        </p:sp>
        <p:sp>
          <p:nvSpPr>
            <p:cNvPr id="18" name="TextBox 32">
              <a:extLst>
                <a:ext uri="{FF2B5EF4-FFF2-40B4-BE49-F238E27FC236}">
                  <a16:creationId xmlns:a16="http://schemas.microsoft.com/office/drawing/2014/main" id="{153959B6-408E-47F5-93BA-C5831E4FB4A8}"/>
                </a:ext>
              </a:extLst>
            </p:cNvPr>
            <p:cNvSpPr txBox="1"/>
            <p:nvPr/>
          </p:nvSpPr>
          <p:spPr>
            <a:xfrm>
              <a:off x="5610228" y="1516080"/>
              <a:ext cx="5874635" cy="1069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Fachliche, wie auch technische bundeseinheitliche 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Vereinheitlichung der Verwaltungspraxis;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die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Architekturentwicklung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wird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bundesweit föderal neu aufgestellt; zentrale, föderale Anforderungen an IT-Architektur, IT-Sicherheit und Nutzerorientierung.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</a:endParaRPr>
            </a:p>
          </p:txBody>
        </p:sp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CA9D27EB-6556-414B-9DE6-5764FD69C051}"/>
                </a:ext>
              </a:extLst>
            </p:cNvPr>
            <p:cNvSpPr txBox="1"/>
            <p:nvPr/>
          </p:nvSpPr>
          <p:spPr>
            <a:xfrm>
              <a:off x="5610229" y="3238849"/>
              <a:ext cx="5691756" cy="1596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Einheitliche Standards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für den Vollzug werden gesetzt; Onlinedienste im WSP.NRW werden als Fachmodule in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XUnternehmen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/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XGewO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standardisiert (weiter-)entwickelt 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 Kerndatenmodell als Fachmodul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XUnternehmen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/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XGewO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 bis Ende 2024 als verbindlicher Standard.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</a:endParaRPr>
            </a:p>
          </p:txBody>
        </p:sp>
        <p:sp>
          <p:nvSpPr>
            <p:cNvPr id="20" name="TextBox 29">
              <a:extLst>
                <a:ext uri="{FF2B5EF4-FFF2-40B4-BE49-F238E27FC236}">
                  <a16:creationId xmlns:a16="http://schemas.microsoft.com/office/drawing/2014/main" id="{D81CE7A4-CBEC-478B-9649-8FD28D22D6F8}"/>
                </a:ext>
              </a:extLst>
            </p:cNvPr>
            <p:cNvSpPr txBox="1"/>
            <p:nvPr/>
          </p:nvSpPr>
          <p:spPr>
            <a:xfrm>
              <a:off x="5610228" y="5027040"/>
              <a:ext cx="5691757" cy="7989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Standardisierung der Infrastruktur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durch zentrale Basiskomponenten; 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Vorantreiben der „Open-Source-Prinzipien“ 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(offene Software, Standards und Schnittstellen).</a:t>
              </a:r>
            </a:p>
          </p:txBody>
        </p:sp>
        <p:pic>
          <p:nvPicPr>
            <p:cNvPr id="21" name="Grafik 20" descr="Ursache und Wirkung mit einfarbiger Füllung">
              <a:extLst>
                <a:ext uri="{FF2B5EF4-FFF2-40B4-BE49-F238E27FC236}">
                  <a16:creationId xmlns:a16="http://schemas.microsoft.com/office/drawing/2014/main" id="{8D973961-CBB2-4253-9EFE-DA44B4CB7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1941" y="1730404"/>
              <a:ext cx="756000" cy="756000"/>
            </a:xfrm>
            <a:prstGeom prst="rect">
              <a:avLst/>
            </a:prstGeom>
          </p:spPr>
        </p:pic>
        <p:pic>
          <p:nvPicPr>
            <p:cNvPr id="22" name="Grafik 21" descr="Griechischer Tempel mit einfarbiger Füllung">
              <a:extLst>
                <a:ext uri="{FF2B5EF4-FFF2-40B4-BE49-F238E27FC236}">
                  <a16:creationId xmlns:a16="http://schemas.microsoft.com/office/drawing/2014/main" id="{FF22F1A9-AC92-4297-9A65-C3F445208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41941" y="3313127"/>
              <a:ext cx="756000" cy="756000"/>
            </a:xfrm>
            <a:prstGeom prst="rect">
              <a:avLst/>
            </a:prstGeom>
          </p:spPr>
        </p:pic>
        <p:pic>
          <p:nvPicPr>
            <p:cNvPr id="23" name="Grafik 22" descr="Brückenszenerie mit einfarbiger Füllung">
              <a:extLst>
                <a:ext uri="{FF2B5EF4-FFF2-40B4-BE49-F238E27FC236}">
                  <a16:creationId xmlns:a16="http://schemas.microsoft.com/office/drawing/2014/main" id="{3F310110-8165-4A2E-B26E-5BB708AF0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436007" y="4969547"/>
              <a:ext cx="756000" cy="756000"/>
            </a:xfrm>
            <a:prstGeom prst="rect">
              <a:avLst/>
            </a:prstGeom>
          </p:spPr>
        </p:pic>
      </p:grpSp>
      <p:pic>
        <p:nvPicPr>
          <p:cNvPr id="27" name="Grafik 26">
            <a:extLst>
              <a:ext uri="{FF2B5EF4-FFF2-40B4-BE49-F238E27FC236}">
                <a16:creationId xmlns:a16="http://schemas.microsoft.com/office/drawing/2014/main" id="{62145610-5527-48C8-BFE5-D4ABAB98F8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98" y="6407951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961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6AD858-FAE5-4BE0-B2DA-5A2B92EC0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88" y="601733"/>
            <a:ext cx="11731624" cy="434439"/>
          </a:xfrm>
        </p:spPr>
        <p:txBody>
          <a:bodyPr/>
          <a:lstStyle/>
          <a:p>
            <a:r>
              <a:rPr lang="de-DE" sz="2200" dirty="0"/>
              <a:t>OZG-Reifegrad 4 - Überblick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56E69BA-5BF1-4D7D-862D-0380D8B18B1C}"/>
              </a:ext>
            </a:extLst>
          </p:cNvPr>
          <p:cNvGrpSpPr/>
          <p:nvPr/>
        </p:nvGrpSpPr>
        <p:grpSpPr>
          <a:xfrm>
            <a:off x="447152" y="1224960"/>
            <a:ext cx="11297696" cy="5263272"/>
            <a:chOff x="450610" y="1083375"/>
            <a:chExt cx="11297696" cy="526327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3250CAFA-CF7D-48F8-865D-A002FC600DC4}"/>
                </a:ext>
              </a:extLst>
            </p:cNvPr>
            <p:cNvSpPr/>
            <p:nvPr/>
          </p:nvSpPr>
          <p:spPr>
            <a:xfrm>
              <a:off x="5377075" y="3523406"/>
              <a:ext cx="6345364" cy="2771717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17CEA33-2377-49A2-904D-9BD2A46A62C5}"/>
                </a:ext>
              </a:extLst>
            </p:cNvPr>
            <p:cNvSpPr/>
            <p:nvPr/>
          </p:nvSpPr>
          <p:spPr>
            <a:xfrm>
              <a:off x="5377076" y="1096937"/>
              <a:ext cx="6345364" cy="2225383"/>
            </a:xfrm>
            <a:prstGeom prst="rect">
              <a:avLst/>
            </a:prstGeom>
            <a:solidFill>
              <a:srgbClr val="05253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C5457F2-BB53-40CC-8E35-52585E2839F1}"/>
                </a:ext>
              </a:extLst>
            </p:cNvPr>
            <p:cNvSpPr/>
            <p:nvPr/>
          </p:nvSpPr>
          <p:spPr>
            <a:xfrm>
              <a:off x="5377075" y="1430991"/>
              <a:ext cx="6345364" cy="1998009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24176A48-8ECD-4345-B555-86CF506510A5}"/>
                </a:ext>
              </a:extLst>
            </p:cNvPr>
            <p:cNvSpPr/>
            <p:nvPr/>
          </p:nvSpPr>
          <p:spPr>
            <a:xfrm>
              <a:off x="450610" y="1096937"/>
              <a:ext cx="4824001" cy="4997100"/>
            </a:xfrm>
            <a:prstGeom prst="rect">
              <a:avLst/>
            </a:prstGeom>
            <a:solidFill>
              <a:srgbClr val="05253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6F84134-3431-4111-9BD1-7B0830AFAF64}"/>
                </a:ext>
              </a:extLst>
            </p:cNvPr>
            <p:cNvSpPr/>
            <p:nvPr/>
          </p:nvSpPr>
          <p:spPr>
            <a:xfrm>
              <a:off x="450611" y="1430990"/>
              <a:ext cx="4824000" cy="4864133"/>
            </a:xfrm>
            <a:prstGeom prst="rect">
              <a:avLst/>
            </a:prstGeom>
            <a:solidFill>
              <a:srgbClr val="F4F2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 </a:t>
              </a:r>
            </a:p>
          </p:txBody>
        </p:sp>
        <p:sp>
          <p:nvSpPr>
            <p:cNvPr id="10" name="Pfeil: nach rechts 9">
              <a:extLst>
                <a:ext uri="{FF2B5EF4-FFF2-40B4-BE49-F238E27FC236}">
                  <a16:creationId xmlns:a16="http://schemas.microsoft.com/office/drawing/2014/main" id="{8C332F5D-C6C9-4545-8D38-E32A37598CEE}"/>
                </a:ext>
              </a:extLst>
            </p:cNvPr>
            <p:cNvSpPr/>
            <p:nvPr/>
          </p:nvSpPr>
          <p:spPr>
            <a:xfrm rot="5400000">
              <a:off x="1078960" y="3062670"/>
              <a:ext cx="1013778" cy="359161"/>
            </a:xfrm>
            <a:prstGeom prst="rightArrow">
              <a:avLst/>
            </a:prstGeom>
            <a:solidFill>
              <a:srgbClr val="4C847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  <a:cs typeface="+mn-cs"/>
              </a:endParaRPr>
            </a:p>
          </p:txBody>
        </p:sp>
        <p:pic>
          <p:nvPicPr>
            <p:cNvPr id="11" name="Picture 2" descr="Digitale Verwaltung - OZG-Logo">
              <a:extLst>
                <a:ext uri="{FF2B5EF4-FFF2-40B4-BE49-F238E27FC236}">
                  <a16:creationId xmlns:a16="http://schemas.microsoft.com/office/drawing/2014/main" id="{CEDD582C-45BD-48B9-ADD0-AF13CAEF81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293" t="17449" r="17823" b="26463"/>
            <a:stretch/>
          </p:blipFill>
          <p:spPr bwMode="auto">
            <a:xfrm>
              <a:off x="1016820" y="1726745"/>
              <a:ext cx="1328583" cy="871318"/>
            </a:xfrm>
            <a:prstGeom prst="rect">
              <a:avLst/>
            </a:prstGeom>
            <a:noFill/>
            <a:ln>
              <a:solidFill>
                <a:srgbClr val="05253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7491D56-2DE6-43DF-BD05-FD1A377B9EF2}"/>
                </a:ext>
              </a:extLst>
            </p:cNvPr>
            <p:cNvSpPr/>
            <p:nvPr/>
          </p:nvSpPr>
          <p:spPr>
            <a:xfrm>
              <a:off x="3063113" y="1786279"/>
              <a:ext cx="1779037" cy="747715"/>
            </a:xfrm>
            <a:prstGeom prst="ellipse">
              <a:avLst/>
            </a:prstGeom>
            <a:solidFill>
              <a:srgbClr val="D9E9E6"/>
            </a:solidFill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  <a:cs typeface="+mn-cs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11D3B1E-5735-4321-ACFC-7DDAC615DFF5}"/>
                </a:ext>
              </a:extLst>
            </p:cNvPr>
            <p:cNvSpPr txBox="1"/>
            <p:nvPr/>
          </p:nvSpPr>
          <p:spPr bwMode="gray">
            <a:xfrm>
              <a:off x="5588850" y="1545134"/>
              <a:ext cx="3503375" cy="15875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2448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85750" marR="0" lvl="0" indent="-28575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Entwicklung eines Baukasten-systems/einer Bausteinbibliothek für parametrisierbare EfA-Onlinedienste </a:t>
              </a:r>
            </a:p>
            <a:p>
              <a:pPr marL="285750" marR="0" lvl="0" indent="-28575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Errichtung und Bereitstellung einer EfA-fähigen </a:t>
              </a:r>
              <a:r>
                <a:rPr kumimoji="0" lang="de-DE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Unterstützungsarchitek-tur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(</a:t>
              </a:r>
              <a:r>
                <a:rPr kumimoji="0" lang="de-DE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SaaC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) für den Nachweisabruf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sym typeface="Wingdings" panose="05000000000000000000" pitchFamily="2" charset="2"/>
                </a:rPr>
                <a:t>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Data Consumer Adapter (DCA)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7EBFBF0-FFE3-449C-8412-3FC6051F77B2}"/>
                </a:ext>
              </a:extLst>
            </p:cNvPr>
            <p:cNvSpPr/>
            <p:nvPr/>
          </p:nvSpPr>
          <p:spPr>
            <a:xfrm>
              <a:off x="788298" y="4010642"/>
              <a:ext cx="4120872" cy="2159996"/>
            </a:xfrm>
            <a:prstGeom prst="rect">
              <a:avLst/>
            </a:prstGeom>
            <a:solidFill>
              <a:srgbClr val="D9E9E6"/>
            </a:solidFill>
            <a:ln>
              <a:solidFill>
                <a:srgbClr val="D9E9E6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  <a:cs typeface="+mn-cs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044467CE-ED3A-41DC-8747-5A0952E4A216}"/>
                </a:ext>
              </a:extLst>
            </p:cNvPr>
            <p:cNvSpPr txBox="1"/>
            <p:nvPr/>
          </p:nvSpPr>
          <p:spPr bwMode="gray">
            <a:xfrm>
              <a:off x="864256" y="4031591"/>
              <a:ext cx="4044914" cy="19236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Beschreibung OZG-Reifegrad 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Die „</a:t>
              </a:r>
              <a:r>
                <a:rPr kumimoji="0" lang="de-DE" sz="14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Once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-</a:t>
              </a:r>
              <a:r>
                <a:rPr kumimoji="0" lang="de-DE" sz="14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Only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“-Beantragung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von Verwaltungsleistungen liegt vor, wenn Daten und Nachweise aus Registern </a:t>
              </a:r>
              <a:r>
                <a:rPr kumimoji="0" lang="de-DE" sz="1400" b="0" i="0" u="sng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mit Zustimmung der </a:t>
              </a:r>
              <a:r>
                <a:rPr kumimoji="0" lang="de-DE" sz="1400" b="0" i="0" u="sng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ASt</a:t>
              </a:r>
              <a:r>
                <a:rPr kumimoji="0" lang="de-DE" sz="1400" b="0" i="0" u="sng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. medienbruchfrei </a:t>
              </a:r>
              <a:r>
                <a:rPr kumimoji="0" lang="de-DE" sz="1400" b="0" i="0" u="sng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i.R.d</a:t>
              </a:r>
              <a:r>
                <a:rPr kumimoji="0" lang="de-DE" sz="1400" b="0" i="0" u="sng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. Antragstellung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abgerufen werden können. Nutzerinnen und Nutzer sollen künftig keine Nachweise mehr selbst aus dezentralen Quellen </a:t>
              </a: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beibringen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müssen. </a:t>
              </a:r>
            </a:p>
          </p:txBody>
        </p:sp>
        <p:sp>
          <p:nvSpPr>
            <p:cNvPr id="16" name="Pfeil: nach rechts 15">
              <a:extLst>
                <a:ext uri="{FF2B5EF4-FFF2-40B4-BE49-F238E27FC236}">
                  <a16:creationId xmlns:a16="http://schemas.microsoft.com/office/drawing/2014/main" id="{CE6A6F64-4E9A-4B1D-B816-FF768C9A85DF}"/>
                </a:ext>
              </a:extLst>
            </p:cNvPr>
            <p:cNvSpPr/>
            <p:nvPr/>
          </p:nvSpPr>
          <p:spPr>
            <a:xfrm rot="5400000">
              <a:off x="3575212" y="3062670"/>
              <a:ext cx="1013778" cy="359161"/>
            </a:xfrm>
            <a:prstGeom prst="rightArrow">
              <a:avLst/>
            </a:prstGeom>
            <a:solidFill>
              <a:srgbClr val="4C847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  <a:cs typeface="+mn-cs"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26D23C9-55DC-4730-94EC-AF57DBD0ACE5}"/>
                </a:ext>
              </a:extLst>
            </p:cNvPr>
            <p:cNvSpPr txBox="1"/>
            <p:nvPr/>
          </p:nvSpPr>
          <p:spPr bwMode="gray">
            <a:xfrm>
              <a:off x="3346174" y="1930692"/>
              <a:ext cx="147032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Bold"/>
                  <a:ea typeface="ＭＳ Ｐゴシック"/>
                </a:rPr>
                <a:t>RegMo</a:t>
              </a:r>
              <a:endParaRPr kumimoji="0" lang="de-DE" sz="2176" b="1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Bold"/>
                <a:ea typeface="ＭＳ Ｐゴシック"/>
              </a:endParaRP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BD47F70B-CF48-4A8A-AA34-2FFFCD2C45DD}"/>
                </a:ext>
              </a:extLst>
            </p:cNvPr>
            <p:cNvSpPr txBox="1"/>
            <p:nvPr/>
          </p:nvSpPr>
          <p:spPr bwMode="gray">
            <a:xfrm>
              <a:off x="5533798" y="1129227"/>
              <a:ext cx="6066089" cy="2486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2448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Was macht das MWIKE um dieses </a:t>
              </a:r>
              <a:r>
                <a:rPr kumimoji="0" 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Zielbild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zu erreichen?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25F441CB-AB1E-4D31-8126-1ED633183C59}"/>
                </a:ext>
              </a:extLst>
            </p:cNvPr>
            <p:cNvSpPr txBox="1"/>
            <p:nvPr/>
          </p:nvSpPr>
          <p:spPr bwMode="gray">
            <a:xfrm>
              <a:off x="8912617" y="1506314"/>
              <a:ext cx="2835689" cy="1600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285750" marR="0" lvl="0" indent="-28575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Fachrechtliche Analyse von EfA-Onlinediensten und Nachweisen aus Registern (FOKUS-Projekt „Unter-</a:t>
              </a:r>
              <a:r>
                <a:rPr kumimoji="0" lang="de-DE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nehmensanmeldung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 und –</a:t>
              </a:r>
              <a:r>
                <a:rPr kumimoji="0" lang="de-DE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genehmigung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“/ „Tätigkeits-anzeigen u. Erlaubnisse“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D9FE84D0-0FB3-4146-B6FA-98063A026F5B}"/>
                </a:ext>
              </a:extLst>
            </p:cNvPr>
            <p:cNvSpPr/>
            <p:nvPr/>
          </p:nvSpPr>
          <p:spPr>
            <a:xfrm>
              <a:off x="573163" y="1083375"/>
              <a:ext cx="3735637" cy="2564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tlCol="0" anchor="t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OZG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-</a:t>
              </a:r>
              <a:r>
                <a:rPr kumimoji="0" 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RegMo</a:t>
              </a: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-Verschränkung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80E625E-CA63-4BDB-A154-F63281BB8315}"/>
                </a:ext>
              </a:extLst>
            </p:cNvPr>
            <p:cNvSpPr txBox="1"/>
            <p:nvPr/>
          </p:nvSpPr>
          <p:spPr bwMode="gray">
            <a:xfrm>
              <a:off x="5533798" y="3545880"/>
              <a:ext cx="6214508" cy="28007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sng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Next Generation Onlinedienste WSP.NRW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: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Bis zum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31.01.2025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 wird eine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neue technische Lösung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eines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Baukastens/einer Bausteinbibliothek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 anhand von 8 Onlinediensten konzipiert und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in NRW im WSP.NRW erprobt und in 2025 über alle Onlinedienste bundesweit  (als Teil der EfA-MNA) ausgerollt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. Das Baukastensystem ist eine Software zur Erstellung von Onlinediensten auf Basis von wiederverwendbaren, vorkonfigurierten Bausteinen, in der bundeslandspezifische Anpassungen in einzelnen Verwaltungsleistungen abgebildet werden (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  <a:sym typeface="Wingdings" panose="05000000000000000000" pitchFamily="2" charset="2"/>
                </a:rPr>
                <a:t>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Anbindungsleitfäden       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  <a:sym typeface="Wingdings" panose="05000000000000000000" pitchFamily="2" charset="2"/>
                </a:rPr>
                <a:t>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+mn-lt"/>
                  <a:cs typeface="+mn-lt"/>
                </a:rPr>
                <a:t>Erprobungsprojekte mit anderen Bundesländern). 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Datenanalyse und -aufbereitung zur OZG-Reifegrad-4-Umsetzung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(beschränkt auf Registerdatenabrufe zu Nachweisen u. dazugehörigen Datenfeldern), ausgewählter Leistungen der 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</a:rPr>
                <a:t>OZG-IDs 10294 und 10293.</a:t>
              </a: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6B72DE75-4FC8-48CC-AF59-50C4708155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4" y="6421157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88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504D9D-C94D-45DC-8D0D-D49F88253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88" y="831809"/>
            <a:ext cx="11731624" cy="459706"/>
          </a:xfrm>
        </p:spPr>
        <p:txBody>
          <a:bodyPr/>
          <a:lstStyle/>
          <a:p>
            <a:r>
              <a:rPr lang="de-DE" sz="2200" b="1" dirty="0">
                <a:effectLst/>
                <a:ea typeface="Times New Roman" panose="02020603050405020304" pitchFamily="18" charset="0"/>
              </a:rPr>
              <a:t>Effizienzsprung durch OZG</a:t>
            </a:r>
            <a:r>
              <a:rPr lang="de-DE" sz="2200" dirty="0">
                <a:ea typeface="Times New Roman" panose="02020603050405020304" pitchFamily="18" charset="0"/>
              </a:rPr>
              <a:t>-</a:t>
            </a:r>
            <a:r>
              <a:rPr lang="de-DE" sz="2200" b="1" dirty="0">
                <a:effectLst/>
                <a:ea typeface="Times New Roman" panose="02020603050405020304" pitchFamily="18" charset="0"/>
              </a:rPr>
              <a:t>Reifegrad 4 für den Wirtschaftsverwaltungsvollzug</a:t>
            </a:r>
            <a:endParaRPr lang="de-DE" sz="2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74A8D7-D6A9-4919-832D-39B2279F0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641" y="1770516"/>
            <a:ext cx="10620152" cy="406028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1EA9743-F8DB-46F8-87B8-AD8AD0DA0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98" y="6395875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169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7C9E93-EDBF-4929-BA4F-BC9BB9185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88" y="820010"/>
            <a:ext cx="11731624" cy="731076"/>
          </a:xfrm>
        </p:spPr>
        <p:txBody>
          <a:bodyPr/>
          <a:lstStyle/>
          <a:p>
            <a:r>
              <a:rPr lang="de-DE" sz="2200" noProof="0" dirty="0"/>
              <a:t>Nur eine durchdachte und automatisierte Ende-zu-Ende Digitalisierung kann die Verwaltung nachhaltig entlasten</a:t>
            </a:r>
            <a:endParaRPr lang="de-DE" sz="22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5F460E-8ED6-4F93-BB3E-1799CE89A5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89" y="1698223"/>
            <a:ext cx="11562735" cy="48223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9F482D3-E6D0-423A-BD9C-2B33F4134F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0" y="6407673"/>
            <a:ext cx="1688738" cy="213378"/>
          </a:xfrm>
          <a:prstGeom prst="rect">
            <a:avLst/>
          </a:prstGeom>
        </p:spPr>
      </p:pic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E412ED5-6729-47B6-8656-F221A33D8E91}"/>
              </a:ext>
            </a:extLst>
          </p:cNvPr>
          <p:cNvGrpSpPr/>
          <p:nvPr/>
        </p:nvGrpSpPr>
        <p:grpSpPr>
          <a:xfrm>
            <a:off x="1128834" y="2337465"/>
            <a:ext cx="9145228" cy="3858375"/>
            <a:chOff x="550863" y="1973289"/>
            <a:chExt cx="10743499" cy="4447131"/>
          </a:xfrm>
        </p:grpSpPr>
        <p:sp>
          <p:nvSpPr>
            <p:cNvPr id="45" name="Oval 17">
              <a:extLst>
                <a:ext uri="{FF2B5EF4-FFF2-40B4-BE49-F238E27FC236}">
                  <a16:creationId xmlns:a16="http://schemas.microsoft.com/office/drawing/2014/main" id="{810A0CCC-871B-4659-A6AC-3CE5D260AD4D}"/>
                </a:ext>
              </a:extLst>
            </p:cNvPr>
            <p:cNvSpPr/>
            <p:nvPr/>
          </p:nvSpPr>
          <p:spPr>
            <a:xfrm>
              <a:off x="5977676" y="1973289"/>
              <a:ext cx="2731167" cy="2314890"/>
            </a:xfrm>
            <a:prstGeom prst="ellipse">
              <a:avLst/>
            </a:prstGeom>
            <a:solidFill>
              <a:srgbClr val="BDC5C8">
                <a:alpha val="50000"/>
              </a:srgbClr>
            </a:solidFill>
            <a:ln w="508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059258"/>
                        <a:gd name="connsiteY0" fmla="*/ 2019991 h 4039982"/>
                        <a:gd name="connsiteX1" fmla="*/ 2029629 w 4059258"/>
                        <a:gd name="connsiteY1" fmla="*/ 0 h 4039982"/>
                        <a:gd name="connsiteX2" fmla="*/ 4059258 w 4059258"/>
                        <a:gd name="connsiteY2" fmla="*/ 2019991 h 4039982"/>
                        <a:gd name="connsiteX3" fmla="*/ 2029629 w 4059258"/>
                        <a:gd name="connsiteY3" fmla="*/ 4039982 h 4039982"/>
                        <a:gd name="connsiteX4" fmla="*/ 0 w 4059258"/>
                        <a:gd name="connsiteY4" fmla="*/ 2019991 h 40399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59258" h="4039982" fill="none" extrusionOk="0">
                          <a:moveTo>
                            <a:pt x="0" y="2019991"/>
                          </a:moveTo>
                          <a:cubicBezTo>
                            <a:pt x="219380" y="930406"/>
                            <a:pt x="989801" y="-166913"/>
                            <a:pt x="2029629" y="0"/>
                          </a:cubicBezTo>
                          <a:cubicBezTo>
                            <a:pt x="2991474" y="-24362"/>
                            <a:pt x="3967874" y="990419"/>
                            <a:pt x="4059258" y="2019991"/>
                          </a:cubicBezTo>
                          <a:cubicBezTo>
                            <a:pt x="4038825" y="2940740"/>
                            <a:pt x="3079754" y="4138385"/>
                            <a:pt x="2029629" y="4039982"/>
                          </a:cubicBezTo>
                          <a:cubicBezTo>
                            <a:pt x="1012786" y="4098256"/>
                            <a:pt x="127655" y="3166294"/>
                            <a:pt x="0" y="2019991"/>
                          </a:cubicBezTo>
                          <a:close/>
                        </a:path>
                        <a:path w="4059258" h="4039982" stroke="0" extrusionOk="0">
                          <a:moveTo>
                            <a:pt x="0" y="2019991"/>
                          </a:moveTo>
                          <a:cubicBezTo>
                            <a:pt x="-143700" y="815743"/>
                            <a:pt x="772275" y="51201"/>
                            <a:pt x="2029629" y="0"/>
                          </a:cubicBezTo>
                          <a:cubicBezTo>
                            <a:pt x="3246936" y="20289"/>
                            <a:pt x="3957676" y="907611"/>
                            <a:pt x="4059258" y="2019991"/>
                          </a:cubicBezTo>
                          <a:cubicBezTo>
                            <a:pt x="3901075" y="3290075"/>
                            <a:pt x="3111020" y="4258541"/>
                            <a:pt x="2029629" y="4039982"/>
                          </a:cubicBezTo>
                          <a:cubicBezTo>
                            <a:pt x="859507" y="4013070"/>
                            <a:pt x="62379" y="3165406"/>
                            <a:pt x="0" y="2019991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t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Sachbearbeitung</a:t>
              </a:r>
            </a:p>
          </p:txBody>
        </p:sp>
        <p:sp>
          <p:nvSpPr>
            <p:cNvPr id="46" name="Oval 7">
              <a:extLst>
                <a:ext uri="{FF2B5EF4-FFF2-40B4-BE49-F238E27FC236}">
                  <a16:creationId xmlns:a16="http://schemas.microsoft.com/office/drawing/2014/main" id="{835843A9-D1BE-4A56-BAFE-6DB9E47A9858}"/>
                </a:ext>
              </a:extLst>
            </p:cNvPr>
            <p:cNvSpPr/>
            <p:nvPr/>
          </p:nvSpPr>
          <p:spPr>
            <a:xfrm>
              <a:off x="3899433" y="1973289"/>
              <a:ext cx="2314890" cy="2314890"/>
            </a:xfrm>
            <a:prstGeom prst="ellipse">
              <a:avLst/>
            </a:prstGeom>
            <a:solidFill>
              <a:srgbClr val="BDC5C8">
                <a:alpha val="50000"/>
              </a:srgbClr>
            </a:solidFill>
            <a:ln w="508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059258"/>
                        <a:gd name="connsiteY0" fmla="*/ 2019991 h 4039982"/>
                        <a:gd name="connsiteX1" fmla="*/ 2029629 w 4059258"/>
                        <a:gd name="connsiteY1" fmla="*/ 0 h 4039982"/>
                        <a:gd name="connsiteX2" fmla="*/ 4059258 w 4059258"/>
                        <a:gd name="connsiteY2" fmla="*/ 2019991 h 4039982"/>
                        <a:gd name="connsiteX3" fmla="*/ 2029629 w 4059258"/>
                        <a:gd name="connsiteY3" fmla="*/ 4039982 h 4039982"/>
                        <a:gd name="connsiteX4" fmla="*/ 0 w 4059258"/>
                        <a:gd name="connsiteY4" fmla="*/ 2019991 h 40399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59258" h="4039982" fill="none" extrusionOk="0">
                          <a:moveTo>
                            <a:pt x="0" y="2019991"/>
                          </a:moveTo>
                          <a:cubicBezTo>
                            <a:pt x="219380" y="930406"/>
                            <a:pt x="989801" y="-166913"/>
                            <a:pt x="2029629" y="0"/>
                          </a:cubicBezTo>
                          <a:cubicBezTo>
                            <a:pt x="2991474" y="-24362"/>
                            <a:pt x="3967874" y="990419"/>
                            <a:pt x="4059258" y="2019991"/>
                          </a:cubicBezTo>
                          <a:cubicBezTo>
                            <a:pt x="4038825" y="2940740"/>
                            <a:pt x="3079754" y="4138385"/>
                            <a:pt x="2029629" y="4039982"/>
                          </a:cubicBezTo>
                          <a:cubicBezTo>
                            <a:pt x="1012786" y="4098256"/>
                            <a:pt x="127655" y="3166294"/>
                            <a:pt x="0" y="2019991"/>
                          </a:cubicBezTo>
                          <a:close/>
                        </a:path>
                        <a:path w="4059258" h="4039982" stroke="0" extrusionOk="0">
                          <a:moveTo>
                            <a:pt x="0" y="2019991"/>
                          </a:moveTo>
                          <a:cubicBezTo>
                            <a:pt x="-143700" y="815743"/>
                            <a:pt x="772275" y="51201"/>
                            <a:pt x="2029629" y="0"/>
                          </a:cubicBezTo>
                          <a:cubicBezTo>
                            <a:pt x="3246936" y="20289"/>
                            <a:pt x="3957676" y="907611"/>
                            <a:pt x="4059258" y="2019991"/>
                          </a:cubicBezTo>
                          <a:cubicBezTo>
                            <a:pt x="3901075" y="3290075"/>
                            <a:pt x="3111020" y="4258541"/>
                            <a:pt x="2029629" y="4039982"/>
                          </a:cubicBezTo>
                          <a:cubicBezTo>
                            <a:pt x="859507" y="4013070"/>
                            <a:pt x="62379" y="3165406"/>
                            <a:pt x="0" y="2019991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t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Onlinezugang</a:t>
              </a:r>
              <a:endPara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Office"/>
                <a:ea typeface="ＭＳ Ｐゴシック"/>
                <a:cs typeface="+mn-cs"/>
              </a:endParaRPr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83649DBF-BEE1-4453-8C00-56E12E777F80}"/>
                </a:ext>
              </a:extLst>
            </p:cNvPr>
            <p:cNvSpPr/>
            <p:nvPr/>
          </p:nvSpPr>
          <p:spPr>
            <a:xfrm>
              <a:off x="6760433" y="3255581"/>
              <a:ext cx="68318" cy="65992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cxnSp>
          <p:nvCxnSpPr>
            <p:cNvPr id="48" name="Gerade Verbindung mit Pfeil 47">
              <a:extLst>
                <a:ext uri="{FF2B5EF4-FFF2-40B4-BE49-F238E27FC236}">
                  <a16:creationId xmlns:a16="http://schemas.microsoft.com/office/drawing/2014/main" id="{FF3DC902-CACB-4A76-8F6C-D88E3644D4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96654" y="3130734"/>
              <a:ext cx="398692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1DEB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49" name="Gewinkelte Verbindung 107">
              <a:extLst>
                <a:ext uri="{FF2B5EF4-FFF2-40B4-BE49-F238E27FC236}">
                  <a16:creationId xmlns:a16="http://schemas.microsoft.com/office/drawing/2014/main" id="{AA9B0596-904E-4386-B349-DEE306F28F61}"/>
                </a:ext>
              </a:extLst>
            </p:cNvPr>
            <p:cNvCxnSpPr>
              <a:cxnSpLocks/>
              <a:stCxn id="50" idx="0"/>
              <a:endCxn id="54" idx="2"/>
            </p:cNvCxnSpPr>
            <p:nvPr/>
          </p:nvCxnSpPr>
          <p:spPr>
            <a:xfrm rot="5400000" flipH="1" flipV="1">
              <a:off x="1865913" y="2434461"/>
              <a:ext cx="400323" cy="1792873"/>
            </a:xfrm>
            <a:prstGeom prst="bentConnector2">
              <a:avLst/>
            </a:prstGeom>
            <a:noFill/>
            <a:ln w="12700" cap="flat" cmpd="sng" algn="ctr">
              <a:solidFill>
                <a:srgbClr val="E1DEBF"/>
              </a:solidFill>
              <a:prstDash val="dash"/>
              <a:headEnd type="none"/>
              <a:tailEnd type="triangle"/>
            </a:ln>
            <a:effectLst/>
          </p:spPr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10ECADD-656C-41AF-A426-80868998AF8A}"/>
                </a:ext>
              </a:extLst>
            </p:cNvPr>
            <p:cNvSpPr txBox="1"/>
            <p:nvPr/>
          </p:nvSpPr>
          <p:spPr bwMode="gray">
            <a:xfrm>
              <a:off x="550863" y="3531058"/>
              <a:ext cx="1353270" cy="123951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244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indent="0" algn="ctr">
                <a:buNone/>
                <a:defRPr sz="90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</a:rPr>
                <a:t>Unternehmen </a:t>
              </a:r>
              <a:b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</a:rPr>
              </a:b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</a:rPr>
                <a:t>oder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</a:rPr>
                <a:t>BürgerInnen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</a:endParaRPr>
            </a:p>
          </p:txBody>
        </p:sp>
        <p:sp>
          <p:nvSpPr>
            <p:cNvPr id="51" name="Ellipse 189">
              <a:extLst>
                <a:ext uri="{FF2B5EF4-FFF2-40B4-BE49-F238E27FC236}">
                  <a16:creationId xmlns:a16="http://schemas.microsoft.com/office/drawing/2014/main" id="{2FFDCB78-EAA5-4796-A7DA-3A051CA4A41B}"/>
                </a:ext>
              </a:extLst>
            </p:cNvPr>
            <p:cNvSpPr/>
            <p:nvPr/>
          </p:nvSpPr>
          <p:spPr>
            <a:xfrm>
              <a:off x="5987817" y="4087439"/>
              <a:ext cx="216366" cy="216365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sp>
          <p:nvSpPr>
            <p:cNvPr id="52" name="Oval 17">
              <a:extLst>
                <a:ext uri="{FF2B5EF4-FFF2-40B4-BE49-F238E27FC236}">
                  <a16:creationId xmlns:a16="http://schemas.microsoft.com/office/drawing/2014/main" id="{7C1EEE5B-591C-4032-95BF-D960ABE4FB95}"/>
                </a:ext>
              </a:extLst>
            </p:cNvPr>
            <p:cNvSpPr/>
            <p:nvPr/>
          </p:nvSpPr>
          <p:spPr>
            <a:xfrm>
              <a:off x="4938555" y="3358216"/>
              <a:ext cx="2314890" cy="2314890"/>
            </a:xfrm>
            <a:prstGeom prst="ellipse">
              <a:avLst/>
            </a:prstGeom>
            <a:solidFill>
              <a:srgbClr val="BDC5C8"/>
            </a:solidFill>
            <a:ln w="508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059258"/>
                        <a:gd name="connsiteY0" fmla="*/ 2019991 h 4039982"/>
                        <a:gd name="connsiteX1" fmla="*/ 2029629 w 4059258"/>
                        <a:gd name="connsiteY1" fmla="*/ 0 h 4039982"/>
                        <a:gd name="connsiteX2" fmla="*/ 4059258 w 4059258"/>
                        <a:gd name="connsiteY2" fmla="*/ 2019991 h 4039982"/>
                        <a:gd name="connsiteX3" fmla="*/ 2029629 w 4059258"/>
                        <a:gd name="connsiteY3" fmla="*/ 4039982 h 4039982"/>
                        <a:gd name="connsiteX4" fmla="*/ 0 w 4059258"/>
                        <a:gd name="connsiteY4" fmla="*/ 2019991 h 40399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59258" h="4039982" fill="none" extrusionOk="0">
                          <a:moveTo>
                            <a:pt x="0" y="2019991"/>
                          </a:moveTo>
                          <a:cubicBezTo>
                            <a:pt x="219380" y="930406"/>
                            <a:pt x="989801" y="-166913"/>
                            <a:pt x="2029629" y="0"/>
                          </a:cubicBezTo>
                          <a:cubicBezTo>
                            <a:pt x="2991474" y="-24362"/>
                            <a:pt x="3967874" y="990419"/>
                            <a:pt x="4059258" y="2019991"/>
                          </a:cubicBezTo>
                          <a:cubicBezTo>
                            <a:pt x="4038825" y="2940740"/>
                            <a:pt x="3079754" y="4138385"/>
                            <a:pt x="2029629" y="4039982"/>
                          </a:cubicBezTo>
                          <a:cubicBezTo>
                            <a:pt x="1012786" y="4098256"/>
                            <a:pt x="127655" y="3166294"/>
                            <a:pt x="0" y="2019991"/>
                          </a:cubicBezTo>
                          <a:close/>
                        </a:path>
                        <a:path w="4059258" h="4039982" stroke="0" extrusionOk="0">
                          <a:moveTo>
                            <a:pt x="0" y="2019991"/>
                          </a:moveTo>
                          <a:cubicBezTo>
                            <a:pt x="-143700" y="815743"/>
                            <a:pt x="772275" y="51201"/>
                            <a:pt x="2029629" y="0"/>
                          </a:cubicBezTo>
                          <a:cubicBezTo>
                            <a:pt x="3246936" y="20289"/>
                            <a:pt x="3957676" y="907611"/>
                            <a:pt x="4059258" y="2019991"/>
                          </a:cubicBezTo>
                          <a:cubicBezTo>
                            <a:pt x="3901075" y="3290075"/>
                            <a:pt x="3111020" y="4258541"/>
                            <a:pt x="2029629" y="4039982"/>
                          </a:cubicBezTo>
                          <a:cubicBezTo>
                            <a:pt x="859507" y="4013070"/>
                            <a:pt x="62379" y="3165406"/>
                            <a:pt x="0" y="2019991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t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Office"/>
                  <a:ea typeface="ＭＳ Ｐゴシック"/>
                  <a:cs typeface="+mn-cs"/>
                </a:rPr>
                <a:t>RegMo</a:t>
              </a:r>
            </a:p>
          </p:txBody>
        </p: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6FC937F6-B7E5-4602-8C2F-5ABB85625E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37847" y="3130734"/>
              <a:ext cx="2018966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1DEB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54" name="Oval 7">
              <a:extLst>
                <a:ext uri="{FF2B5EF4-FFF2-40B4-BE49-F238E27FC236}">
                  <a16:creationId xmlns:a16="http://schemas.microsoft.com/office/drawing/2014/main" id="{C48B5F8D-39DE-412D-BDF9-F957A2DBA5C2}"/>
                </a:ext>
              </a:extLst>
            </p:cNvPr>
            <p:cNvSpPr/>
            <p:nvPr/>
          </p:nvSpPr>
          <p:spPr>
            <a:xfrm>
              <a:off x="2962511" y="2639865"/>
              <a:ext cx="981739" cy="981739"/>
            </a:xfrm>
            <a:prstGeom prst="ellipse">
              <a:avLst/>
            </a:prstGeom>
            <a:solidFill>
              <a:srgbClr val="4C847B">
                <a:alpha val="50000"/>
              </a:srgbClr>
            </a:solidFill>
            <a:ln w="508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059258"/>
                        <a:gd name="connsiteY0" fmla="*/ 2019991 h 4039982"/>
                        <a:gd name="connsiteX1" fmla="*/ 2029629 w 4059258"/>
                        <a:gd name="connsiteY1" fmla="*/ 0 h 4039982"/>
                        <a:gd name="connsiteX2" fmla="*/ 4059258 w 4059258"/>
                        <a:gd name="connsiteY2" fmla="*/ 2019991 h 4039982"/>
                        <a:gd name="connsiteX3" fmla="*/ 2029629 w 4059258"/>
                        <a:gd name="connsiteY3" fmla="*/ 4039982 h 4039982"/>
                        <a:gd name="connsiteX4" fmla="*/ 0 w 4059258"/>
                        <a:gd name="connsiteY4" fmla="*/ 2019991 h 40399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59258" h="4039982" fill="none" extrusionOk="0">
                          <a:moveTo>
                            <a:pt x="0" y="2019991"/>
                          </a:moveTo>
                          <a:cubicBezTo>
                            <a:pt x="219380" y="930406"/>
                            <a:pt x="989801" y="-166913"/>
                            <a:pt x="2029629" y="0"/>
                          </a:cubicBezTo>
                          <a:cubicBezTo>
                            <a:pt x="2991474" y="-24362"/>
                            <a:pt x="3967874" y="990419"/>
                            <a:pt x="4059258" y="2019991"/>
                          </a:cubicBezTo>
                          <a:cubicBezTo>
                            <a:pt x="4038825" y="2940740"/>
                            <a:pt x="3079754" y="4138385"/>
                            <a:pt x="2029629" y="4039982"/>
                          </a:cubicBezTo>
                          <a:cubicBezTo>
                            <a:pt x="1012786" y="4098256"/>
                            <a:pt x="127655" y="3166294"/>
                            <a:pt x="0" y="2019991"/>
                          </a:cubicBezTo>
                          <a:close/>
                        </a:path>
                        <a:path w="4059258" h="4039982" stroke="0" extrusionOk="0">
                          <a:moveTo>
                            <a:pt x="0" y="2019991"/>
                          </a:moveTo>
                          <a:cubicBezTo>
                            <a:pt x="-143700" y="815743"/>
                            <a:pt x="772275" y="51201"/>
                            <a:pt x="2029629" y="0"/>
                          </a:cubicBezTo>
                          <a:cubicBezTo>
                            <a:pt x="3246936" y="20289"/>
                            <a:pt x="3957676" y="907611"/>
                            <a:pt x="4059258" y="2019991"/>
                          </a:cubicBezTo>
                          <a:cubicBezTo>
                            <a:pt x="3901075" y="3290075"/>
                            <a:pt x="3111020" y="4258541"/>
                            <a:pt x="2029629" y="4039982"/>
                          </a:cubicBezTo>
                          <a:cubicBezTo>
                            <a:pt x="859507" y="4013070"/>
                            <a:pt x="62379" y="3165406"/>
                            <a:pt x="0" y="2019991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Digitale Identität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B726E8C8-0E7A-4750-9334-A4984AEB09CC}"/>
                </a:ext>
              </a:extLst>
            </p:cNvPr>
            <p:cNvSpPr/>
            <p:nvPr/>
          </p:nvSpPr>
          <p:spPr>
            <a:xfrm>
              <a:off x="3100635" y="3294702"/>
              <a:ext cx="705490" cy="254462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 anchor="ctr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err="1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eIDAS</a:t>
              </a: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cxnSp>
          <p:nvCxnSpPr>
            <p:cNvPr id="56" name="Gewinkelter Verbinder 81">
              <a:extLst>
                <a:ext uri="{FF2B5EF4-FFF2-40B4-BE49-F238E27FC236}">
                  <a16:creationId xmlns:a16="http://schemas.microsoft.com/office/drawing/2014/main" id="{13A42772-24CA-403B-84C4-406E85A8A1C6}"/>
                </a:ext>
              </a:extLst>
            </p:cNvPr>
            <p:cNvCxnSpPr>
              <a:cxnSpLocks/>
              <a:stCxn id="52" idx="2"/>
              <a:endCxn id="54" idx="4"/>
            </p:cNvCxnSpPr>
            <p:nvPr/>
          </p:nvCxnSpPr>
          <p:spPr>
            <a:xfrm rot="10800000">
              <a:off x="3453381" y="3621605"/>
              <a:ext cx="1485174" cy="894057"/>
            </a:xfrm>
            <a:prstGeom prst="bentConnector2">
              <a:avLst/>
            </a:prstGeom>
            <a:noFill/>
            <a:ln w="12700" cap="flat" cmpd="sng" algn="ctr">
              <a:solidFill>
                <a:srgbClr val="E1DEBF"/>
              </a:solidFill>
              <a:prstDash val="solid"/>
              <a:tailEnd type="triangle"/>
            </a:ln>
            <a:effectLst/>
          </p:spPr>
        </p:cxnSp>
        <p:cxnSp>
          <p:nvCxnSpPr>
            <p:cNvPr id="57" name="Gewinkelter Verbinder 83">
              <a:extLst>
                <a:ext uri="{FF2B5EF4-FFF2-40B4-BE49-F238E27FC236}">
                  <a16:creationId xmlns:a16="http://schemas.microsoft.com/office/drawing/2014/main" id="{F8399A14-4916-4425-8BAC-5DC610B29CD9}"/>
                </a:ext>
              </a:extLst>
            </p:cNvPr>
            <p:cNvCxnSpPr>
              <a:cxnSpLocks/>
              <a:stCxn id="72" idx="1"/>
              <a:endCxn id="50" idx="4"/>
            </p:cNvCxnSpPr>
            <p:nvPr/>
          </p:nvCxnSpPr>
          <p:spPr>
            <a:xfrm rot="10800000">
              <a:off x="1169638" y="4770568"/>
              <a:ext cx="2768950" cy="993130"/>
            </a:xfrm>
            <a:prstGeom prst="bentConnector2">
              <a:avLst/>
            </a:prstGeom>
            <a:noFill/>
            <a:ln w="12700" cap="flat" cmpd="sng" algn="ctr">
              <a:solidFill>
                <a:srgbClr val="E1DEBF"/>
              </a:solidFill>
              <a:prstDash val="solid"/>
              <a:tailEnd type="triangle"/>
            </a:ln>
            <a:effectLst/>
          </p:spPr>
        </p:cxn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62FAD15A-C4CB-405D-9A25-3F9553BC11B2}"/>
                </a:ext>
              </a:extLst>
            </p:cNvPr>
            <p:cNvGrpSpPr/>
            <p:nvPr/>
          </p:nvGrpSpPr>
          <p:grpSpPr>
            <a:xfrm>
              <a:off x="3938587" y="5106976"/>
              <a:ext cx="4672675" cy="1313444"/>
              <a:chOff x="3938588" y="5106976"/>
              <a:chExt cx="4314824" cy="1313444"/>
            </a:xfrm>
          </p:grpSpPr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728D39BB-87FD-489B-983E-68E863DC0AEE}"/>
                  </a:ext>
                </a:extLst>
              </p:cNvPr>
              <p:cNvSpPr/>
              <p:nvPr/>
            </p:nvSpPr>
            <p:spPr>
              <a:xfrm>
                <a:off x="3938588" y="5106976"/>
                <a:ext cx="4314824" cy="1313444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50800" cap="flat" cmpd="sng" algn="ctr">
                <a:solidFill>
                  <a:srgbClr val="FFFFFF">
                    <a:lumMod val="85000"/>
                  </a:srgbClr>
                </a:solidFill>
                <a:prstDash val="soli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4059258"/>
                          <a:gd name="connsiteY0" fmla="*/ 2019991 h 4039982"/>
                          <a:gd name="connsiteX1" fmla="*/ 2029629 w 4059258"/>
                          <a:gd name="connsiteY1" fmla="*/ 0 h 4039982"/>
                          <a:gd name="connsiteX2" fmla="*/ 4059258 w 4059258"/>
                          <a:gd name="connsiteY2" fmla="*/ 2019991 h 4039982"/>
                          <a:gd name="connsiteX3" fmla="*/ 2029629 w 4059258"/>
                          <a:gd name="connsiteY3" fmla="*/ 4039982 h 4039982"/>
                          <a:gd name="connsiteX4" fmla="*/ 0 w 4059258"/>
                          <a:gd name="connsiteY4" fmla="*/ 2019991 h 403998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059258" h="4039982" fill="none" extrusionOk="0">
                            <a:moveTo>
                              <a:pt x="0" y="2019991"/>
                            </a:moveTo>
                            <a:cubicBezTo>
                              <a:pt x="219380" y="930406"/>
                              <a:pt x="989801" y="-166913"/>
                              <a:pt x="2029629" y="0"/>
                            </a:cubicBezTo>
                            <a:cubicBezTo>
                              <a:pt x="2991474" y="-24362"/>
                              <a:pt x="3967874" y="990419"/>
                              <a:pt x="4059258" y="2019991"/>
                            </a:cubicBezTo>
                            <a:cubicBezTo>
                              <a:pt x="4038825" y="2940740"/>
                              <a:pt x="3079754" y="4138385"/>
                              <a:pt x="2029629" y="4039982"/>
                            </a:cubicBezTo>
                            <a:cubicBezTo>
                              <a:pt x="1012786" y="4098256"/>
                              <a:pt x="127655" y="3166294"/>
                              <a:pt x="0" y="2019991"/>
                            </a:cubicBezTo>
                            <a:close/>
                          </a:path>
                          <a:path w="4059258" h="4039982" stroke="0" extrusionOk="0">
                            <a:moveTo>
                              <a:pt x="0" y="2019991"/>
                            </a:moveTo>
                            <a:cubicBezTo>
                              <a:pt x="-143700" y="815743"/>
                              <a:pt x="772275" y="51201"/>
                              <a:pt x="2029629" y="0"/>
                            </a:cubicBezTo>
                            <a:cubicBezTo>
                              <a:pt x="3246936" y="20289"/>
                              <a:pt x="3957676" y="907611"/>
                              <a:pt x="4059258" y="2019991"/>
                            </a:cubicBezTo>
                            <a:cubicBezTo>
                              <a:pt x="3901075" y="3290075"/>
                              <a:pt x="3111020" y="4258541"/>
                              <a:pt x="2029629" y="4039982"/>
                            </a:cubicBezTo>
                            <a:cubicBezTo>
                              <a:pt x="859507" y="4013070"/>
                              <a:pt x="62379" y="3165406"/>
                              <a:pt x="0" y="2019991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lIns="0" tIns="0" rIns="0" bIns="72000" rtlCol="0" anchor="b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5253A"/>
                    </a:solidFill>
                    <a:effectLst/>
                    <a:uLnTx/>
                    <a:uFillTx/>
                    <a:latin typeface="BundesSans Regular"/>
                    <a:ea typeface="ＭＳ Ｐゴシック"/>
                    <a:cs typeface="+mn-cs"/>
                  </a:rPr>
                  <a:t>Verwaltungsdaten</a:t>
                </a: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5AFC8DF4-C48E-4087-A332-D9EE312D8E63}"/>
                  </a:ext>
                </a:extLst>
              </p:cNvPr>
              <p:cNvSpPr/>
              <p:nvPr/>
            </p:nvSpPr>
            <p:spPr>
              <a:xfrm>
                <a:off x="4233863" y="5502497"/>
                <a:ext cx="1707266" cy="488918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undesSans Regular"/>
                    <a:ea typeface="ＭＳ Ｐゴシック"/>
                    <a:cs typeface="+mn-cs"/>
                  </a:rPr>
                  <a:t>Nationale Register</a:t>
                </a: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1E83B10D-E340-4A9C-8296-99DE4E7250D5}"/>
                  </a:ext>
                </a:extLst>
              </p:cNvPr>
              <p:cNvSpPr/>
              <p:nvPr/>
            </p:nvSpPr>
            <p:spPr>
              <a:xfrm>
                <a:off x="6250871" y="5502497"/>
                <a:ext cx="1707266" cy="488918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undesSans Regular"/>
                    <a:ea typeface="ＭＳ Ｐゴシック"/>
                    <a:cs typeface="+mn-cs"/>
                  </a:rPr>
                  <a:t>Register EU-Ausland</a:t>
                </a:r>
              </a:p>
            </p:txBody>
          </p:sp>
          <p:sp>
            <p:nvSpPr>
              <p:cNvPr id="75" name="Ellipse 74">
                <a:extLst>
                  <a:ext uri="{FF2B5EF4-FFF2-40B4-BE49-F238E27FC236}">
                    <a16:creationId xmlns:a16="http://schemas.microsoft.com/office/drawing/2014/main" id="{5DC330C3-A84F-4A85-BDB6-1FEC430668E7}"/>
                  </a:ext>
                </a:extLst>
              </p:cNvPr>
              <p:cNvSpPr/>
              <p:nvPr/>
            </p:nvSpPr>
            <p:spPr>
              <a:xfrm>
                <a:off x="4979313" y="5394314"/>
                <a:ext cx="216366" cy="216365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endParaRPr>
              </a:p>
            </p:txBody>
          </p:sp>
          <p:sp>
            <p:nvSpPr>
              <p:cNvPr id="76" name="Ellipse 120">
                <a:extLst>
                  <a:ext uri="{FF2B5EF4-FFF2-40B4-BE49-F238E27FC236}">
                    <a16:creationId xmlns:a16="http://schemas.microsoft.com/office/drawing/2014/main" id="{FCDE620F-223B-45F3-9F46-C5C5EEAA2216}"/>
                  </a:ext>
                </a:extLst>
              </p:cNvPr>
              <p:cNvSpPr/>
              <p:nvPr/>
            </p:nvSpPr>
            <p:spPr>
              <a:xfrm>
                <a:off x="6996321" y="5394314"/>
                <a:ext cx="216366" cy="216365"/>
              </a:xfrm>
              <a:prstGeom prst="ellipse">
                <a:avLst/>
              </a:prstGeom>
              <a:blipFill dpi="0" rotWithShape="1">
                <a:blip r:embed="rId5"/>
                <a:srcRect/>
                <a:stretch>
                  <a:fillRect/>
                </a:stretch>
              </a:blip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endParaRPr>
              </a:p>
            </p:txBody>
          </p:sp>
          <p:grpSp>
            <p:nvGrpSpPr>
              <p:cNvPr id="77" name="Gruppieren 76">
                <a:extLst>
                  <a:ext uri="{FF2B5EF4-FFF2-40B4-BE49-F238E27FC236}">
                    <a16:creationId xmlns:a16="http://schemas.microsoft.com/office/drawing/2014/main" id="{5C2F339A-59FB-4246-B40D-077952B63201}"/>
                  </a:ext>
                </a:extLst>
              </p:cNvPr>
              <p:cNvGrpSpPr/>
              <p:nvPr/>
            </p:nvGrpSpPr>
            <p:grpSpPr>
              <a:xfrm>
                <a:off x="4522621" y="5885665"/>
                <a:ext cx="1129751" cy="190715"/>
                <a:chOff x="5041779" y="5821372"/>
                <a:chExt cx="1129751" cy="190715"/>
              </a:xfrm>
              <a:noFill/>
            </p:grpSpPr>
            <p:sp>
              <p:nvSpPr>
                <p:cNvPr id="78" name="Rechteck 77">
                  <a:extLst>
                    <a:ext uri="{FF2B5EF4-FFF2-40B4-BE49-F238E27FC236}">
                      <a16:creationId xmlns:a16="http://schemas.microsoft.com/office/drawing/2014/main" id="{CE50D5D7-3952-4A29-89CC-928C9F21E256}"/>
                    </a:ext>
                  </a:extLst>
                </p:cNvPr>
                <p:cNvSpPr/>
                <p:nvPr/>
              </p:nvSpPr>
              <p:spPr>
                <a:xfrm>
                  <a:off x="5041779" y="5821372"/>
                  <a:ext cx="512661" cy="190715"/>
                </a:xfrm>
                <a:prstGeom prst="rect">
                  <a:avLst/>
                </a:prstGeom>
                <a:grpFill/>
                <a:ln w="12700">
                  <a:solidFill>
                    <a:srgbClr val="E1DEBF"/>
                  </a:solidFill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4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777777"/>
                      </a:solidFill>
                      <a:effectLst/>
                      <a:uLnTx/>
                      <a:uFillTx/>
                      <a:latin typeface="BundesSans Regular"/>
                      <a:ea typeface="ＭＳ Ｐゴシック"/>
                      <a:cs typeface="+mn-cs"/>
                    </a:rPr>
                    <a:t>ID-</a:t>
                  </a:r>
                  <a:r>
                    <a:rPr kumimoji="0" lang="de-DE" sz="1000" b="1" i="0" u="none" strike="noStrike" kern="0" cap="none" spc="0" normalizeH="0" baseline="0" noProof="0" err="1">
                      <a:ln>
                        <a:noFill/>
                      </a:ln>
                      <a:solidFill>
                        <a:srgbClr val="777777"/>
                      </a:solidFill>
                      <a:effectLst/>
                      <a:uLnTx/>
                      <a:uFillTx/>
                      <a:latin typeface="BundesSans Regular"/>
                      <a:ea typeface="ＭＳ Ｐゴシック"/>
                      <a:cs typeface="+mn-cs"/>
                    </a:rPr>
                    <a:t>Nr</a:t>
                  </a:r>
                  <a:endParaRPr kumimoji="0" lang="de-DE" sz="1000" b="1" i="0" u="none" strike="noStrike" kern="0" cap="none" spc="0" normalizeH="0" baseline="0" noProof="0">
                    <a:ln>
                      <a:noFill/>
                    </a:ln>
                    <a:solidFill>
                      <a:srgbClr val="777777"/>
                    </a:solidFill>
                    <a:effectLst/>
                    <a:uLnTx/>
                    <a:uFillTx/>
                    <a:latin typeface="BundesSans Regular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79" name="Rechteck 78">
                  <a:extLst>
                    <a:ext uri="{FF2B5EF4-FFF2-40B4-BE49-F238E27FC236}">
                      <a16:creationId xmlns:a16="http://schemas.microsoft.com/office/drawing/2014/main" id="{8DBA2D6F-9633-4746-883F-2FCCAB7DF9E7}"/>
                    </a:ext>
                  </a:extLst>
                </p:cNvPr>
                <p:cNvSpPr/>
                <p:nvPr/>
              </p:nvSpPr>
              <p:spPr>
                <a:xfrm>
                  <a:off x="5658869" y="5821372"/>
                  <a:ext cx="512661" cy="190715"/>
                </a:xfrm>
                <a:prstGeom prst="rect">
                  <a:avLst/>
                </a:prstGeom>
                <a:grpFill/>
                <a:ln w="12700">
                  <a:solidFill>
                    <a:srgbClr val="E1DEBF"/>
                  </a:solidFill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4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777777"/>
                      </a:solidFill>
                      <a:effectLst/>
                      <a:uLnTx/>
                      <a:uFillTx/>
                      <a:latin typeface="BundesSans Regular"/>
                      <a:ea typeface="ＭＳ Ｐゴシック"/>
                      <a:cs typeface="+mn-cs"/>
                    </a:rPr>
                    <a:t>W-ID</a:t>
                  </a:r>
                </a:p>
              </p:txBody>
            </p:sp>
          </p:grpSp>
        </p:grp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536DA9C1-F181-47D0-B75C-416DB73DCAD3}"/>
                </a:ext>
              </a:extLst>
            </p:cNvPr>
            <p:cNvSpPr/>
            <p:nvPr/>
          </p:nvSpPr>
          <p:spPr>
            <a:xfrm>
              <a:off x="1904133" y="5329898"/>
              <a:ext cx="866945" cy="8676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E1DEBF"/>
              </a:solidFill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Datenschutz-</a:t>
              </a:r>
              <a:b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</a:br>
              <a:r>
                <a:rPr kumimoji="0" lang="de-DE" sz="1000" b="1" i="0" u="none" strike="noStrike" kern="0" cap="none" spc="0" normalizeH="0" baseline="0" noProof="0" err="1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cockpit</a:t>
              </a:r>
              <a:endPara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7A830F81-31AC-47E4-B6ED-CA02E79ECA24}"/>
                </a:ext>
              </a:extLst>
            </p:cNvPr>
            <p:cNvGrpSpPr/>
            <p:nvPr/>
          </p:nvGrpSpPr>
          <p:grpSpPr>
            <a:xfrm>
              <a:off x="3305599" y="3181294"/>
              <a:ext cx="295562" cy="147781"/>
              <a:chOff x="3328738" y="2647895"/>
              <a:chExt cx="295562" cy="147781"/>
            </a:xfrm>
          </p:grpSpPr>
          <p:sp>
            <p:nvSpPr>
              <p:cNvPr id="70" name="Ellipse 120">
                <a:extLst>
                  <a:ext uri="{FF2B5EF4-FFF2-40B4-BE49-F238E27FC236}">
                    <a16:creationId xmlns:a16="http://schemas.microsoft.com/office/drawing/2014/main" id="{F5EDDE88-84CC-415D-AC29-125C0689C04C}"/>
                  </a:ext>
                </a:extLst>
              </p:cNvPr>
              <p:cNvSpPr/>
              <p:nvPr/>
            </p:nvSpPr>
            <p:spPr>
              <a:xfrm>
                <a:off x="3476519" y="2647895"/>
                <a:ext cx="147781" cy="147781"/>
              </a:xfrm>
              <a:prstGeom prst="ellipse">
                <a:avLst/>
              </a:prstGeom>
              <a:blipFill dpi="0" rotWithShape="1">
                <a:blip r:embed="rId5"/>
                <a:srcRect/>
                <a:stretch>
                  <a:fillRect/>
                </a:stretch>
              </a:blip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endParaRPr>
              </a:p>
            </p:txBody>
          </p:sp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AE935654-CE14-4818-AB1F-C1387FD09FE1}"/>
                  </a:ext>
                </a:extLst>
              </p:cNvPr>
              <p:cNvSpPr/>
              <p:nvPr/>
            </p:nvSpPr>
            <p:spPr>
              <a:xfrm>
                <a:off x="3328738" y="2647895"/>
                <a:ext cx="147781" cy="147781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121894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9DA5872-DD21-4264-8C40-70771AD698A0}"/>
                </a:ext>
              </a:extLst>
            </p:cNvPr>
            <p:cNvSpPr/>
            <p:nvPr/>
          </p:nvSpPr>
          <p:spPr>
            <a:xfrm>
              <a:off x="2263714" y="5439823"/>
              <a:ext cx="147781" cy="147781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4DD1C933-2551-474D-8E46-5E9962BB600A}"/>
                </a:ext>
              </a:extLst>
            </p:cNvPr>
            <p:cNvSpPr txBox="1"/>
            <p:nvPr/>
          </p:nvSpPr>
          <p:spPr bwMode="gray">
            <a:xfrm>
              <a:off x="10056813" y="2510979"/>
              <a:ext cx="1237549" cy="123951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244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indent="0" algn="ctr">
                <a:buNone/>
                <a:defRPr sz="90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</a:rPr>
                <a:t>Verwaltungsakt</a:t>
              </a:r>
            </a:p>
          </p:txBody>
        </p:sp>
        <p:sp>
          <p:nvSpPr>
            <p:cNvPr id="63" name="Rechteck: abgerundete Ecken 62">
              <a:extLst>
                <a:ext uri="{FF2B5EF4-FFF2-40B4-BE49-F238E27FC236}">
                  <a16:creationId xmlns:a16="http://schemas.microsoft.com/office/drawing/2014/main" id="{55CC8C20-3678-4686-BD13-E9CFFF1CE581}"/>
                </a:ext>
              </a:extLst>
            </p:cNvPr>
            <p:cNvSpPr/>
            <p:nvPr/>
          </p:nvSpPr>
          <p:spPr>
            <a:xfrm>
              <a:off x="6681521" y="3028579"/>
              <a:ext cx="907202" cy="204311"/>
            </a:xfrm>
            <a:prstGeom prst="roundRect">
              <a:avLst/>
            </a:prstGeom>
            <a:noFill/>
            <a:ln w="12700">
              <a:noFill/>
            </a:ln>
            <a:effectLst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Fachverfahren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847C1BFA-C0B7-4BE4-A7B7-8D7D714DEE00}"/>
                </a:ext>
              </a:extLst>
            </p:cNvPr>
            <p:cNvSpPr/>
            <p:nvPr/>
          </p:nvSpPr>
          <p:spPr>
            <a:xfrm>
              <a:off x="5078733" y="4196543"/>
              <a:ext cx="2017713" cy="430887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Nationales </a:t>
              </a:r>
              <a:r>
                <a:rPr kumimoji="0" lang="de-DE" sz="1400" b="1" i="0" u="none" strike="noStrike" kern="0" cap="none" spc="0" normalizeH="0" baseline="0" noProof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Once</a:t>
              </a:r>
              <a:r>
                <a:rPr kumimoji="0" lang="de-DE" sz="14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-</a:t>
              </a:r>
              <a:r>
                <a:rPr kumimoji="0" lang="de-DE" sz="1400" b="1" i="0" u="none" strike="noStrike" kern="0" cap="none" spc="0" normalizeH="0" baseline="0" noProof="0" err="1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Only</a:t>
              </a:r>
              <a:r>
                <a:rPr kumimoji="0" lang="de-DE" sz="1400" b="1" i="0" u="none" strike="noStrike" kern="0" cap="none" spc="0" normalizeH="0" baseline="0" noProof="0">
                  <a:ln>
                    <a:noFill/>
                  </a:ln>
                  <a:solidFill>
                    <a:srgbClr val="05253A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-Technical-System (NOOTS)</a:t>
              </a:r>
            </a:p>
          </p:txBody>
        </p:sp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315B1EA4-9F9C-40D1-97AB-8F05DA39BC82}"/>
                </a:ext>
              </a:extLst>
            </p:cNvPr>
            <p:cNvSpPr/>
            <p:nvPr/>
          </p:nvSpPr>
          <p:spPr>
            <a:xfrm>
              <a:off x="4603441" y="3028579"/>
              <a:ext cx="906875" cy="204311"/>
            </a:xfrm>
            <a:prstGeom prst="roundRect">
              <a:avLst/>
            </a:prstGeom>
            <a:noFill/>
            <a:ln w="12700">
              <a:noFill/>
            </a:ln>
            <a:effectLst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777777"/>
                  </a:solidFill>
                  <a:effectLst/>
                  <a:uLnTx/>
                  <a:uFillTx/>
                  <a:latin typeface="BundesSans Regular"/>
                  <a:ea typeface="ＭＳ Ｐゴシック"/>
                  <a:cs typeface="+mn-cs"/>
                </a:rPr>
                <a:t>Online-Dienst</a:t>
              </a:r>
            </a:p>
          </p:txBody>
        </p:sp>
        <p:sp>
          <p:nvSpPr>
            <p:cNvPr id="66" name="Rechteck: abgerundete Ecken 65">
              <a:extLst>
                <a:ext uri="{FF2B5EF4-FFF2-40B4-BE49-F238E27FC236}">
                  <a16:creationId xmlns:a16="http://schemas.microsoft.com/office/drawing/2014/main" id="{CA47A6FB-D898-4B44-89FE-E464D32D0935}"/>
                </a:ext>
              </a:extLst>
            </p:cNvPr>
            <p:cNvSpPr/>
            <p:nvPr/>
          </p:nvSpPr>
          <p:spPr>
            <a:xfrm>
              <a:off x="4477460" y="2971800"/>
              <a:ext cx="3237079" cy="317868"/>
            </a:xfrm>
            <a:prstGeom prst="roundRect">
              <a:avLst>
                <a:gd name="adj" fmla="val 50000"/>
              </a:avLst>
            </a:prstGeom>
            <a:noFill/>
            <a:ln w="25400" cap="flat" cmpd="sng" algn="ctr">
              <a:solidFill>
                <a:srgbClr val="E1DEBF"/>
              </a:solidFill>
              <a:prstDash val="dash"/>
            </a:ln>
            <a:effectLst/>
          </p:spPr>
          <p:txBody>
            <a:bodyPr t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32F46C2D-19B8-455C-A83A-4DD6C46FBA1B}"/>
                </a:ext>
              </a:extLst>
            </p:cNvPr>
            <p:cNvSpPr/>
            <p:nvPr/>
          </p:nvSpPr>
          <p:spPr>
            <a:xfrm>
              <a:off x="7026939" y="2624321"/>
              <a:ext cx="216366" cy="216365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6B22DFCF-97D2-4D8D-9B8D-B9D4D1C790F5}"/>
                </a:ext>
              </a:extLst>
            </p:cNvPr>
            <p:cNvSpPr/>
            <p:nvPr/>
          </p:nvSpPr>
          <p:spPr>
            <a:xfrm>
              <a:off x="4948695" y="2640381"/>
              <a:ext cx="216366" cy="216365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12189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5253A"/>
                </a:solidFill>
                <a:effectLst/>
                <a:uLnTx/>
                <a:uFillTx/>
                <a:latin typeface="BundesSans Regular"/>
                <a:ea typeface="ＭＳ Ｐゴシック"/>
                <a:cs typeface="+mn-cs"/>
              </a:endParaRPr>
            </a:p>
          </p:txBody>
        </p:sp>
        <p:cxnSp>
          <p:nvCxnSpPr>
            <p:cNvPr id="69" name="Gewinkelter Verbinder 73">
              <a:extLst>
                <a:ext uri="{FF2B5EF4-FFF2-40B4-BE49-F238E27FC236}">
                  <a16:creationId xmlns:a16="http://schemas.microsoft.com/office/drawing/2014/main" id="{867170C2-3F0C-45AA-9DC7-B16509178236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7000042" y="-1035682"/>
              <a:ext cx="128886" cy="7222207"/>
            </a:xfrm>
            <a:prstGeom prst="bentConnector3">
              <a:avLst>
                <a:gd name="adj1" fmla="val -527371"/>
              </a:avLst>
            </a:prstGeom>
            <a:noFill/>
            <a:ln w="12700" cap="flat" cmpd="sng" algn="ctr">
              <a:solidFill>
                <a:srgbClr val="E1DEBF"/>
              </a:solidFill>
              <a:prstDash val="soli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9937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520BF-5F0A-4822-AF6F-4052FCF7E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737419"/>
            <a:ext cx="11731624" cy="471505"/>
          </a:xfrm>
        </p:spPr>
        <p:txBody>
          <a:bodyPr/>
          <a:lstStyle/>
          <a:p>
            <a:r>
              <a:rPr lang="de-DE" sz="2200" dirty="0">
                <a:ea typeface="Times New Roman" panose="02020603050405020304" pitchFamily="18" charset="0"/>
              </a:rPr>
              <a:t>Strategieausblick Weiterentwicklung WSP.NRW in 2025</a:t>
            </a:r>
            <a:endParaRPr lang="de-DE" sz="220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40852B1-4755-4280-84FF-C59595C587B4}"/>
              </a:ext>
            </a:extLst>
          </p:cNvPr>
          <p:cNvGrpSpPr/>
          <p:nvPr/>
        </p:nvGrpSpPr>
        <p:grpSpPr>
          <a:xfrm>
            <a:off x="557847" y="1752973"/>
            <a:ext cx="10604331" cy="4024542"/>
            <a:chOff x="557847" y="1752973"/>
            <a:chExt cx="10604331" cy="402454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5F6001AE-D7F6-4B0D-BA40-1C2EA895AAC1}"/>
                </a:ext>
              </a:extLst>
            </p:cNvPr>
            <p:cNvSpPr/>
            <p:nvPr/>
          </p:nvSpPr>
          <p:spPr>
            <a:xfrm>
              <a:off x="1046178" y="1815731"/>
              <a:ext cx="10116000" cy="668067"/>
            </a:xfrm>
            <a:prstGeom prst="rect">
              <a:avLst/>
            </a:prstGeom>
            <a:solidFill>
              <a:srgbClr val="E0DEB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612000" rtlCol="0" anchor="ctr"/>
            <a:lstStyle/>
            <a:p>
              <a:pPr marL="0" marR="0" lvl="0" indent="0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kern="0" dirty="0">
                  <a:solidFill>
                    <a:srgbClr val="000000"/>
                  </a:solidFill>
                  <a:latin typeface="BundesSans Regular" panose="020B0002030500000203"/>
                </a:rPr>
                <a:t>Teilweise </a:t>
              </a:r>
              <a:r>
                <a:rPr lang="de-DE" sz="1600" kern="0" dirty="0" err="1">
                  <a:solidFill>
                    <a:srgbClr val="000000"/>
                  </a:solidFill>
                  <a:latin typeface="BundesSans Regular" panose="020B0002030500000203"/>
                </a:rPr>
                <a:t>Jira</a:t>
              </a:r>
              <a:r>
                <a:rPr lang="de-DE" sz="1600" kern="0" dirty="0">
                  <a:solidFill>
                    <a:srgbClr val="000000"/>
                  </a:solidFill>
                  <a:latin typeface="BundesSans Regular" panose="020B0002030500000203"/>
                </a:rPr>
                <a:t>-Ablöse für den unmittelbaren Transport von WSP-Antragsdaten in Fachverfahren (Fit-Connect und OSCI) 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Regular" panose="020B0002030500000203"/>
                <a:ea typeface="+mn-ea"/>
                <a:cs typeface="+mn-cs"/>
              </a:endParaRPr>
            </a:p>
          </p:txBody>
        </p: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3CA1033D-237D-4FA4-B476-C97ED88CEE67}"/>
                </a:ext>
              </a:extLst>
            </p:cNvPr>
            <p:cNvSpPr/>
            <p:nvPr/>
          </p:nvSpPr>
          <p:spPr>
            <a:xfrm>
              <a:off x="557847" y="1752973"/>
              <a:ext cx="900505" cy="886706"/>
            </a:xfrm>
            <a:prstGeom prst="ellipse">
              <a:avLst/>
            </a:prstGeom>
            <a:solidFill>
              <a:srgbClr val="E0DEBF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72000" tIns="72000" rIns="72000" bIns="72000" rtlCol="0" anchor="ctr"/>
            <a:lstStyle/>
            <a:p>
              <a:pPr marL="0" marR="0" lvl="0" indent="0" algn="ctr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CDF78C0-C061-49FE-B970-31E50AC46764}"/>
                </a:ext>
              </a:extLst>
            </p:cNvPr>
            <p:cNvSpPr/>
            <p:nvPr/>
          </p:nvSpPr>
          <p:spPr>
            <a:xfrm>
              <a:off x="1029553" y="2778957"/>
              <a:ext cx="10116000" cy="884358"/>
            </a:xfrm>
            <a:prstGeom prst="rect">
              <a:avLst/>
            </a:prstGeom>
            <a:solidFill>
              <a:srgbClr val="E0DEB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612000" rtlCol="0" anchor="ctr"/>
            <a:lstStyle/>
            <a:p>
              <a:pPr marL="0" marR="0" lvl="0" indent="0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undesSans Regular" panose="020B0002030500000203"/>
                  <a:ea typeface="+mn-ea"/>
                  <a:cs typeface="+mn-cs"/>
                </a:rPr>
                <a:t>Entwicklung und Bereitstellung eines generischen</a:t>
              </a:r>
              <a:r>
                <a:rPr kumimoji="0" lang="de-DE" sz="16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undesSans Regular" panose="020B0002030500000203"/>
                  <a:ea typeface="+mn-ea"/>
                  <a:cs typeface="+mn-cs"/>
                </a:rPr>
                <a:t> Empfangsclient, wo kein Fachverfahren verfügbar ist; kostenfreie Bereitstellung eines „generischen“ Systems zur Antragsbearbeitung, wo kein Fachverfahren verfügbar ist (Empfangsclient 2.0) 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Regular" panose="020B0002030500000203"/>
                <a:ea typeface="+mn-ea"/>
                <a:cs typeface="+mn-cs"/>
              </a:endParaRP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459145EC-AD49-4D82-9477-F5BB922970CE}"/>
                </a:ext>
              </a:extLst>
            </p:cNvPr>
            <p:cNvSpPr/>
            <p:nvPr/>
          </p:nvSpPr>
          <p:spPr>
            <a:xfrm>
              <a:off x="557847" y="2800397"/>
              <a:ext cx="900505" cy="886706"/>
            </a:xfrm>
            <a:prstGeom prst="ellipse">
              <a:avLst/>
            </a:prstGeom>
            <a:solidFill>
              <a:srgbClr val="E0DEBF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72000" tIns="72000" rIns="72000" bIns="72000" rtlCol="0" anchor="ctr"/>
            <a:lstStyle/>
            <a:p>
              <a:pPr marL="0" marR="0" lvl="0" indent="0" algn="ctr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281EB1E-07FB-4BC5-B72E-B68D71A0835C}"/>
                </a:ext>
              </a:extLst>
            </p:cNvPr>
            <p:cNvSpPr/>
            <p:nvPr/>
          </p:nvSpPr>
          <p:spPr>
            <a:xfrm>
              <a:off x="1046178" y="4031013"/>
              <a:ext cx="10116000" cy="682475"/>
            </a:xfrm>
            <a:prstGeom prst="rect">
              <a:avLst/>
            </a:prstGeom>
            <a:solidFill>
              <a:srgbClr val="E0DEB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612000" rtlCol="0" anchor="ctr"/>
            <a:lstStyle/>
            <a:p>
              <a:pPr marL="0" marR="0" lvl="0" indent="0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kern="0" dirty="0">
                  <a:solidFill>
                    <a:srgbClr val="000000"/>
                  </a:solidFill>
                  <a:latin typeface="BundesSans Regular" panose="020B0002030500000203"/>
                </a:rPr>
                <a:t>Projekt „Einfach Gründen“ – Weiterentwicklung des WSP.NRW-Gründungsassistenten als EfA-Dienst und Vorbereitung zur Beschleunigung des Gründungsprozesses als „</a:t>
              </a:r>
              <a:r>
                <a:rPr lang="de-DE" sz="1600" kern="0" dirty="0" err="1">
                  <a:solidFill>
                    <a:srgbClr val="000000"/>
                  </a:solidFill>
                  <a:latin typeface="BundesSans Regular" panose="020B0002030500000203"/>
                </a:rPr>
                <a:t>Once</a:t>
              </a:r>
              <a:r>
                <a:rPr lang="de-DE" sz="1600" kern="0" dirty="0">
                  <a:solidFill>
                    <a:srgbClr val="000000"/>
                  </a:solidFill>
                  <a:latin typeface="BundesSans Regular" panose="020B0002030500000203"/>
                </a:rPr>
                <a:t>-</a:t>
              </a:r>
              <a:r>
                <a:rPr lang="de-DE" sz="1600" kern="0" dirty="0" err="1">
                  <a:solidFill>
                    <a:srgbClr val="000000"/>
                  </a:solidFill>
                  <a:latin typeface="BundesSans Regular" panose="020B0002030500000203"/>
                </a:rPr>
                <a:t>Only</a:t>
              </a:r>
              <a:r>
                <a:rPr lang="de-DE" sz="1600" kern="0" dirty="0">
                  <a:solidFill>
                    <a:srgbClr val="000000"/>
                  </a:solidFill>
                  <a:latin typeface="BundesSans Regular" panose="020B0002030500000203"/>
                </a:rPr>
                <a:t>“-Prozess 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Regular" panose="020B0002030500000203"/>
                <a:ea typeface="+mn-ea"/>
                <a:cs typeface="+mn-cs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8F15AED1-A99D-4860-9774-C997F096C262}"/>
                </a:ext>
              </a:extLst>
            </p:cNvPr>
            <p:cNvSpPr/>
            <p:nvPr/>
          </p:nvSpPr>
          <p:spPr>
            <a:xfrm>
              <a:off x="557847" y="3845603"/>
              <a:ext cx="900505" cy="886706"/>
            </a:xfrm>
            <a:prstGeom prst="ellipse">
              <a:avLst/>
            </a:prstGeom>
            <a:solidFill>
              <a:srgbClr val="E0DEBF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72000" tIns="72000" rIns="72000" bIns="72000" rtlCol="0" anchor="ctr"/>
            <a:lstStyle/>
            <a:p>
              <a:pPr marL="0" marR="0" lvl="0" indent="0" algn="ctr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0AF643A3-E7B0-482F-8CE6-EA4F50469914}"/>
                </a:ext>
              </a:extLst>
            </p:cNvPr>
            <p:cNvSpPr/>
            <p:nvPr/>
          </p:nvSpPr>
          <p:spPr>
            <a:xfrm>
              <a:off x="1046178" y="5076219"/>
              <a:ext cx="10116000" cy="545415"/>
            </a:xfrm>
            <a:prstGeom prst="rect">
              <a:avLst/>
            </a:prstGeom>
            <a:solidFill>
              <a:srgbClr val="E0DEB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612000" rtlCol="0" anchor="ctr"/>
            <a:lstStyle/>
            <a:p>
              <a:pPr marL="0" marR="0" lvl="0" indent="0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undesSans Regular" panose="020B0002030500000203"/>
                  <a:ea typeface="+mn-ea"/>
                  <a:cs typeface="+mn-cs"/>
                </a:rPr>
                <a:t>WSP.NRW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undesSans Regular" panose="020B0002030500000203"/>
                  <a:ea typeface="+mn-ea"/>
                  <a:cs typeface="+mn-cs"/>
                </a:rPr>
                <a:t>goes</a:t>
              </a:r>
              <a:r>
                <a:rPr kumimoji="0" lang="de-DE" sz="16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undesSans Regular" panose="020B0002030500000203"/>
                  <a:ea typeface="+mn-ea"/>
                  <a:cs typeface="+mn-cs"/>
                </a:rPr>
                <a:t> Cloud in 2025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Regular" panose="020B0002030500000203"/>
                <a:ea typeface="+mn-ea"/>
                <a:cs typeface="+mn-cs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C4C03992-B042-4ED7-A8C6-F26A33D9CAEB}"/>
                </a:ext>
              </a:extLst>
            </p:cNvPr>
            <p:cNvSpPr/>
            <p:nvPr/>
          </p:nvSpPr>
          <p:spPr>
            <a:xfrm>
              <a:off x="557847" y="4890809"/>
              <a:ext cx="900505" cy="886706"/>
            </a:xfrm>
            <a:prstGeom prst="ellipse">
              <a:avLst/>
            </a:prstGeom>
            <a:solidFill>
              <a:srgbClr val="E0DEBF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72000" tIns="72000" rIns="72000" bIns="72000" rtlCol="0" anchor="ctr"/>
            <a:lstStyle/>
            <a:p>
              <a:pPr marL="0" marR="0" lvl="0" indent="0" algn="ctr" defTabSz="6859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" name="Grafik 12" descr="Geldbörse mit einfarbiger Füllung">
              <a:extLst>
                <a:ext uri="{FF2B5EF4-FFF2-40B4-BE49-F238E27FC236}">
                  <a16:creationId xmlns:a16="http://schemas.microsoft.com/office/drawing/2014/main" id="{2B2DDB12-DBF7-43D9-B5C6-E40061810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35391" y="1906357"/>
              <a:ext cx="545415" cy="545415"/>
            </a:xfrm>
            <a:prstGeom prst="rect">
              <a:avLst/>
            </a:prstGeom>
          </p:spPr>
        </p:pic>
        <p:pic>
          <p:nvPicPr>
            <p:cNvPr id="14" name="Grafik 13" descr="Gebäudesteinmauer mit einfarbiger Füllung">
              <a:extLst>
                <a:ext uri="{FF2B5EF4-FFF2-40B4-BE49-F238E27FC236}">
                  <a16:creationId xmlns:a16="http://schemas.microsoft.com/office/drawing/2014/main" id="{E6490AB4-497A-4FF8-A756-31993AECF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5998" y="2939756"/>
              <a:ext cx="584200" cy="584200"/>
            </a:xfrm>
            <a:prstGeom prst="rect">
              <a:avLst/>
            </a:prstGeom>
          </p:spPr>
        </p:pic>
        <p:pic>
          <p:nvPicPr>
            <p:cNvPr id="15" name="Grafik 14" descr="Wegweiser Silhouette">
              <a:extLst>
                <a:ext uri="{FF2B5EF4-FFF2-40B4-BE49-F238E27FC236}">
                  <a16:creationId xmlns:a16="http://schemas.microsoft.com/office/drawing/2014/main" id="{5C072F0B-24BC-4E3E-98D6-69D724034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5905" y="4031013"/>
              <a:ext cx="523975" cy="523975"/>
            </a:xfrm>
            <a:prstGeom prst="rect">
              <a:avLst/>
            </a:prstGeom>
          </p:spPr>
        </p:pic>
        <p:pic>
          <p:nvPicPr>
            <p:cNvPr id="16" name="Grafik 15" descr="Platte mit einfarbiger Füllung">
              <a:extLst>
                <a:ext uri="{FF2B5EF4-FFF2-40B4-BE49-F238E27FC236}">
                  <a16:creationId xmlns:a16="http://schemas.microsoft.com/office/drawing/2014/main" id="{0D0A1F92-7D84-4E5B-9E19-DC27E485D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0486" y="5054779"/>
              <a:ext cx="545415" cy="545415"/>
            </a:xfrm>
            <a:prstGeom prst="rect">
              <a:avLst/>
            </a:prstGeom>
          </p:spPr>
        </p:pic>
      </p:grpSp>
      <p:pic>
        <p:nvPicPr>
          <p:cNvPr id="20" name="Grafik 19">
            <a:extLst>
              <a:ext uri="{FF2B5EF4-FFF2-40B4-BE49-F238E27FC236}">
                <a16:creationId xmlns:a16="http://schemas.microsoft.com/office/drawing/2014/main" id="{E3471064-6E4F-4398-A046-8F669DD6DD5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300" y="6413573"/>
            <a:ext cx="1688738" cy="2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12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NRW Farben">
      <a:dk1>
        <a:srgbClr val="FFFFFF"/>
      </a:dk1>
      <a:lt1>
        <a:srgbClr val="000000"/>
      </a:lt1>
      <a:dk2>
        <a:srgbClr val="ACACAC"/>
      </a:dk2>
      <a:lt2>
        <a:srgbClr val="009036"/>
      </a:lt2>
      <a:accent1>
        <a:srgbClr val="E2001A"/>
      </a:accent1>
      <a:accent2>
        <a:srgbClr val="003064"/>
      </a:accent2>
      <a:accent3>
        <a:srgbClr val="009EE0"/>
      </a:accent3>
      <a:accent4>
        <a:srgbClr val="B1C800"/>
      </a:accent4>
      <a:accent5>
        <a:srgbClr val="F29300"/>
      </a:accent5>
      <a:accent6>
        <a:srgbClr val="E75112"/>
      </a:accent6>
      <a:hlink>
        <a:srgbClr val="009EE0"/>
      </a:hlink>
      <a:folHlink>
        <a:srgbClr val="0030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ign1" id="{81C7CB91-0574-4C97-A802-B4F62C987DD5}" vid="{62A83309-9D89-4557-9F03-0223509EDCD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sign1</Template>
  <TotalTime>0</TotalTime>
  <Words>783</Words>
  <Application>Microsoft Office PowerPoint</Application>
  <PresentationFormat>Breitbild</PresentationFormat>
  <Paragraphs>108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BundesSans Bold</vt:lpstr>
      <vt:lpstr>BundesSans Office</vt:lpstr>
      <vt:lpstr>BundesSans Regular</vt:lpstr>
      <vt:lpstr>Calibri</vt:lpstr>
      <vt:lpstr>Carlito</vt:lpstr>
      <vt:lpstr>Wingdings</vt:lpstr>
      <vt:lpstr>Design1</vt:lpstr>
      <vt:lpstr>think-cell Folie</vt:lpstr>
      <vt:lpstr>OZG-Reifegrad 4 und Strategieausblick Weiterentwicklung WSP.NRW in 2025  </vt:lpstr>
      <vt:lpstr>Agenda</vt:lpstr>
      <vt:lpstr>WSP.NRW als zukunftsfähige Basis für eine Projektentwicklung mit föderalem Fokus </vt:lpstr>
      <vt:lpstr>Aktueller Status der Vertragszeichnungen</vt:lpstr>
      <vt:lpstr>Online-Dienste im WSP.NRW &amp; Vorteile des EfA-Prinzips</vt:lpstr>
      <vt:lpstr>OZG-Reifegrad 4 - Überblick</vt:lpstr>
      <vt:lpstr>Effizienzsprung durch OZG-Reifegrad 4 für den Wirtschaftsverwaltungsvollzug</vt:lpstr>
      <vt:lpstr>Nur eine durchdachte und automatisierte Ende-zu-Ende Digitalisierung kann die Verwaltung nachhaltig entlasten</vt:lpstr>
      <vt:lpstr>Strategieausblick Weiterentwicklung WSP.NRW in 2025</vt:lpstr>
      <vt:lpstr>Vielen Dan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ZG-Reifegrad 4 und Strategieausblick Weiterentwicklung WSP.NRW in 2025</dc:title>
  <dc:creator>Safarik, Carolin (d-NRW)</dc:creator>
  <cp:lastModifiedBy>Safarik, Carolin (d-NRW)</cp:lastModifiedBy>
  <cp:revision>7</cp:revision>
  <dcterms:created xsi:type="dcterms:W3CDTF">2024-11-11T14:36:45Z</dcterms:created>
  <dcterms:modified xsi:type="dcterms:W3CDTF">2024-11-12T06:57:37Z</dcterms:modified>
</cp:coreProperties>
</file>